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4.xml" ContentType="application/vnd.openxmlformats-officedocument.presentationml.notesSl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5.xml" ContentType="application/vnd.openxmlformats-officedocument.presentationml.notesSl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7"/>
  </p:notesMasterIdLst>
  <p:sldIdLst>
    <p:sldId id="397" r:id="rId2"/>
    <p:sldId id="399" r:id="rId3"/>
    <p:sldId id="392" r:id="rId4"/>
    <p:sldId id="400" r:id="rId5"/>
    <p:sldId id="401" r:id="rId6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0" autoAdjust="0"/>
    <p:restoredTop sz="95226" autoAdjust="0"/>
  </p:normalViewPr>
  <p:slideViewPr>
    <p:cSldViewPr snapToGrid="0">
      <p:cViewPr varScale="1">
        <p:scale>
          <a:sx n="116" d="100"/>
          <a:sy n="116" d="100"/>
        </p:scale>
        <p:origin x="139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esktop\Southern%20Water%20Corp%20Economics%20Case%20Study%20_%20Seul%20Lee%20use%20this%20on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esktop\Southern%20Water%20Corp%20Economics%20Case%20Study%20_%20Seul%20Lee%20use%20this%20one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esktop\Southern%20Water%20Corp%20Economics%20Case%20Study%20_%20Seul%20Lee%20use%20this%20one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esktop\Southern%20Water%20Corp%20Economics%20Case%20Study%20_%20Seul%20Lee%20use%20this%20one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esktop\Southern%20Water%20Corp%20Economics%20Case%20Study%20_%20Seul%20Lee%20use%20this%20one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esktop\Southern%20Water%20Corp%20Economics%20Case%20Study%20_%20Seul%20Lee%20use%20this%20one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esktop\Southern%20Water%20Corp%20Economics%20Case%20Study%20_%20Seul%20Lee%20use%20this%20on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esktop\Southern%20Water%20Corp%20Economics%20Case%20Study%20_%20Seul%20Lee%20use%20this%20on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lisha\Desktop\Southern%20Water%20Corp%20Economics%20Case%20Study%20_%20Seul%20Lee%20use%20this%20one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ownloads\Southern%20Water%20Corp%20Economics%20Case%20Study%20_%20Seul%20Lee%20use%20this%20one%20(1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esktop\Southern%20Water%20Corp%20Economics%20Case%20Study%20_%20Seul%20Lee%20use%20this%20on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esktop\Southern%20Water%20Corp%20Economics%20Case%20Study%20_%20Seul%20Lee%20use%20this%20one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esktop\Southern%20Water%20Corp%20Economics%20Case%20Study%20_%20Seul%20Lee%20use%20this%20one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isha\Desktop\Southern%20Water%20Corp%20Economics%20Case%20Study%20_%20Seul%20Lee%20use%20this%20one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erage Water Balancing Market Price vs. Market Deman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What-If Analysis'!$B$16</c:f>
              <c:strCache>
                <c:ptCount val="1"/>
                <c:pt idx="0">
                  <c:v>Market Water Demand (Mega-Litres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What-If Analysis'!$E$14:$P$14</c:f>
              <c:numCache>
                <c:formatCode>#,##0</c:formatCode>
                <c:ptCount val="12"/>
                <c:pt idx="0">
                  <c:v>7</c:v>
                </c:pt>
                <c:pt idx="1">
                  <c:v>8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</c:v>
                </c:pt>
                <c:pt idx="7">
                  <c:v>2</c:v>
                </c:pt>
                <c:pt idx="8">
                  <c:v>3</c:v>
                </c:pt>
                <c:pt idx="9">
                  <c:v>4</c:v>
                </c:pt>
                <c:pt idx="10">
                  <c:v>5</c:v>
                </c:pt>
                <c:pt idx="11">
                  <c:v>6</c:v>
                </c:pt>
              </c:numCache>
            </c:numRef>
          </c:cat>
          <c:val>
            <c:numRef>
              <c:f>'What-If Analysis'!$E$16:$P$16</c:f>
              <c:numCache>
                <c:formatCode>0.00</c:formatCode>
                <c:ptCount val="12"/>
                <c:pt idx="0">
                  <c:v>2283.0502472527673</c:v>
                </c:pt>
                <c:pt idx="1">
                  <c:v>2201.0592458815067</c:v>
                </c:pt>
                <c:pt idx="2">
                  <c:v>2153.3431850899528</c:v>
                </c:pt>
                <c:pt idx="3">
                  <c:v>2098.9913812617792</c:v>
                </c:pt>
                <c:pt idx="4">
                  <c:v>2200.9293289926659</c:v>
                </c:pt>
                <c:pt idx="5">
                  <c:v>2312.1995397611418</c:v>
                </c:pt>
                <c:pt idx="6">
                  <c:v>2298.1901589653967</c:v>
                </c:pt>
                <c:pt idx="7">
                  <c:v>2406.0918962111036</c:v>
                </c:pt>
                <c:pt idx="8">
                  <c:v>2127.8145432709766</c:v>
                </c:pt>
                <c:pt idx="9">
                  <c:v>2185.7997542263706</c:v>
                </c:pt>
                <c:pt idx="10">
                  <c:v>2145.7837188661065</c:v>
                </c:pt>
                <c:pt idx="11">
                  <c:v>2229.74966114426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B9-4812-9D70-D021E2C066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27981487"/>
        <c:axId val="527978991"/>
      </c:barChart>
      <c:lineChart>
        <c:grouping val="standard"/>
        <c:varyColors val="0"/>
        <c:ser>
          <c:idx val="0"/>
          <c:order val="0"/>
          <c:tx>
            <c:strRef>
              <c:f>'What-If Analysis'!$B$15</c:f>
              <c:strCache>
                <c:ptCount val="1"/>
                <c:pt idx="0">
                  <c:v>Average Water Balancing Market Price</c:v>
                </c:pt>
              </c:strCache>
            </c:strRef>
          </c:tx>
          <c:spPr>
            <a:ln w="28575" cap="rnd">
              <a:solidFill>
                <a:schemeClr val="tx2">
                  <a:lumMod val="65000"/>
                  <a:lumOff val="35000"/>
                </a:schemeClr>
              </a:solidFill>
              <a:prstDash val="dash"/>
              <a:round/>
            </a:ln>
            <a:effectLst/>
          </c:spPr>
          <c:marker>
            <c:symbol val="squar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</a:ln>
              <a:effectLst/>
            </c:spPr>
          </c:marker>
          <c:cat>
            <c:numRef>
              <c:f>'What-If Analysis'!$E$14:$P$14</c:f>
              <c:numCache>
                <c:formatCode>#,##0</c:formatCode>
                <c:ptCount val="12"/>
                <c:pt idx="0">
                  <c:v>7</c:v>
                </c:pt>
                <c:pt idx="1">
                  <c:v>8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</c:v>
                </c:pt>
                <c:pt idx="7">
                  <c:v>2</c:v>
                </c:pt>
                <c:pt idx="8">
                  <c:v>3</c:v>
                </c:pt>
                <c:pt idx="9">
                  <c:v>4</c:v>
                </c:pt>
                <c:pt idx="10">
                  <c:v>5</c:v>
                </c:pt>
                <c:pt idx="11">
                  <c:v>6</c:v>
                </c:pt>
              </c:numCache>
            </c:numRef>
          </c:cat>
          <c:val>
            <c:numRef>
              <c:f>'What-If Analysis'!$E$15:$P$15</c:f>
              <c:numCache>
                <c:formatCode>"$"#,##0.00;[Red]\-"$"#,##0.00</c:formatCode>
                <c:ptCount val="12"/>
                <c:pt idx="0">
                  <c:v>76.602720430107496</c:v>
                </c:pt>
                <c:pt idx="1">
                  <c:v>74.932540098566292</c:v>
                </c:pt>
                <c:pt idx="2">
                  <c:v>74.066319823232305</c:v>
                </c:pt>
                <c:pt idx="3">
                  <c:v>75.093148943932377</c:v>
                </c:pt>
                <c:pt idx="4">
                  <c:v>73.700956254509322</c:v>
                </c:pt>
                <c:pt idx="5">
                  <c:v>74.376656830400748</c:v>
                </c:pt>
                <c:pt idx="6">
                  <c:v>86.391757235371969</c:v>
                </c:pt>
                <c:pt idx="7">
                  <c:v>86.829490475868141</c:v>
                </c:pt>
                <c:pt idx="8">
                  <c:v>81.49989122823844</c:v>
                </c:pt>
                <c:pt idx="9">
                  <c:v>72.569232168710826</c:v>
                </c:pt>
                <c:pt idx="10">
                  <c:v>71.259354341223244</c:v>
                </c:pt>
                <c:pt idx="11">
                  <c:v>72.156510799663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CB9-4812-9D70-D021E2C066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96613984"/>
        <c:axId val="1796616064"/>
      </c:lineChart>
      <c:catAx>
        <c:axId val="1796613984"/>
        <c:scaling>
          <c:orientation val="minMax"/>
        </c:scaling>
        <c:delete val="0"/>
        <c:axPos val="b"/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6616064"/>
        <c:crosses val="autoZero"/>
        <c:auto val="1"/>
        <c:lblAlgn val="ctr"/>
        <c:lblOffset val="100"/>
        <c:noMultiLvlLbl val="0"/>
      </c:catAx>
      <c:valAx>
        <c:axId val="17966160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6613984"/>
        <c:crosses val="autoZero"/>
        <c:crossBetween val="between"/>
      </c:valAx>
      <c:valAx>
        <c:axId val="527978991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981487"/>
        <c:crosses val="max"/>
        <c:crossBetween val="between"/>
      </c:valAx>
      <c:catAx>
        <c:axId val="527981487"/>
        <c:scaling>
          <c:orientation val="minMax"/>
        </c:scaling>
        <c:delete val="1"/>
        <c:axPos val="b"/>
        <c:numFmt formatCode="#,##0" sourceLinked="1"/>
        <c:majorTickMark val="out"/>
        <c:minorTickMark val="none"/>
        <c:tickLblPos val="nextTo"/>
        <c:crossAx val="52797899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Economic Market Analysis'!$B$19</c:f>
              <c:strCache>
                <c:ptCount val="1"/>
                <c:pt idx="0">
                  <c:v>Avg. Quantity of Hard Water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1"/>
            <c:dispEq val="1"/>
            <c:trendlineLbl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Economic Market Analysis'!$C$18:$N$18</c:f>
              <c:numCache>
                <c:formatCode>"$"#,##0.00</c:formatCode>
                <c:ptCount val="12"/>
                <c:pt idx="0">
                  <c:v>110.48381542382315</c:v>
                </c:pt>
                <c:pt idx="1">
                  <c:v>110.62720422979757</c:v>
                </c:pt>
                <c:pt idx="2">
                  <c:v>110.55818806730868</c:v>
                </c:pt>
                <c:pt idx="3">
                  <c:v>93.17518584656078</c:v>
                </c:pt>
                <c:pt idx="4">
                  <c:v>93.408910429176501</c:v>
                </c:pt>
                <c:pt idx="5">
                  <c:v>92.851211447811423</c:v>
                </c:pt>
                <c:pt idx="6">
                  <c:v>92.809567652329747</c:v>
                </c:pt>
                <c:pt idx="7">
                  <c:v>93.14548020527856</c:v>
                </c:pt>
                <c:pt idx="8">
                  <c:v>92.989220833333306</c:v>
                </c:pt>
                <c:pt idx="9">
                  <c:v>92.823577188940064</c:v>
                </c:pt>
                <c:pt idx="10">
                  <c:v>93.029854347041791</c:v>
                </c:pt>
                <c:pt idx="11">
                  <c:v>93.232935483870918</c:v>
                </c:pt>
              </c:numCache>
            </c:numRef>
          </c:xVal>
          <c:yVal>
            <c:numRef>
              <c:f>'Economic Market Analysis'!$C$19:$N$19</c:f>
              <c:numCache>
                <c:formatCode>0.00</c:formatCode>
                <c:ptCount val="12"/>
                <c:pt idx="0">
                  <c:v>2391.3758824827114</c:v>
                </c:pt>
                <c:pt idx="1">
                  <c:v>2533.2689003303749</c:v>
                </c:pt>
                <c:pt idx="2">
                  <c:v>2203.7442618771042</c:v>
                </c:pt>
                <c:pt idx="3">
                  <c:v>2349.5141185681864</c:v>
                </c:pt>
                <c:pt idx="4">
                  <c:v>2243.584512119523</c:v>
                </c:pt>
                <c:pt idx="5">
                  <c:v>2359.3149577593058</c:v>
                </c:pt>
                <c:pt idx="6">
                  <c:v>2443.2652008227428</c:v>
                </c:pt>
                <c:pt idx="7">
                  <c:v>2300.8485926974759</c:v>
                </c:pt>
                <c:pt idx="8">
                  <c:v>2261.3424374589526</c:v>
                </c:pt>
                <c:pt idx="9">
                  <c:v>2188.7956099697999</c:v>
                </c:pt>
                <c:pt idx="10">
                  <c:v>2303.4374718156046</c:v>
                </c:pt>
                <c:pt idx="11">
                  <c:v>2443.60050614741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C13-4D19-A456-E58CBFB43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2263200"/>
        <c:axId val="892260704"/>
      </c:scatterChart>
      <c:valAx>
        <c:axId val="892263200"/>
        <c:scaling>
          <c:orientation val="minMax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2260704"/>
        <c:crosses val="autoZero"/>
        <c:crossBetween val="midCat"/>
      </c:valAx>
      <c:valAx>
        <c:axId val="892260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226320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Economic Market Analysis'!$B$22</c:f>
              <c:strCache>
                <c:ptCount val="1"/>
                <c:pt idx="0">
                  <c:v>Avg. Quantity of Soft Water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1"/>
            <c:dispEq val="1"/>
            <c:trendlineLbl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Economic Market Analysis'!$C$21:$N$21</c:f>
              <c:numCache>
                <c:formatCode>"$"#,##0.00</c:formatCode>
                <c:ptCount val="12"/>
                <c:pt idx="0">
                  <c:v>62.299699046920772</c:v>
                </c:pt>
                <c:pt idx="1">
                  <c:v>63.031776721938691</c:v>
                </c:pt>
                <c:pt idx="2">
                  <c:v>52.441594389168138</c:v>
                </c:pt>
                <c:pt idx="3">
                  <c:v>51.963278490860944</c:v>
                </c:pt>
                <c:pt idx="4">
                  <c:v>49.10979825327</c:v>
                </c:pt>
                <c:pt idx="5">
                  <c:v>51.461810151515095</c:v>
                </c:pt>
                <c:pt idx="6">
                  <c:v>60.395873207885266</c:v>
                </c:pt>
                <c:pt idx="7">
                  <c:v>56.719599991853968</c:v>
                </c:pt>
                <c:pt idx="8">
                  <c:v>55.143418813131255</c:v>
                </c:pt>
                <c:pt idx="9">
                  <c:v>57.362720698924704</c:v>
                </c:pt>
                <c:pt idx="10">
                  <c:v>54.372058161976852</c:v>
                </c:pt>
                <c:pt idx="11">
                  <c:v>55.520378176930556</c:v>
                </c:pt>
              </c:numCache>
            </c:numRef>
          </c:xVal>
          <c:yVal>
            <c:numRef>
              <c:f>'Economic Market Analysis'!$C$22:$N$22</c:f>
              <c:numCache>
                <c:formatCode>0.00</c:formatCode>
                <c:ptCount val="12"/>
                <c:pt idx="0">
                  <c:v>2205.0044354480824</c:v>
                </c:pt>
                <c:pt idx="1">
                  <c:v>2278.9148920918328</c:v>
                </c:pt>
                <c:pt idx="2">
                  <c:v>2051.8848246648477</c:v>
                </c:pt>
                <c:pt idx="3">
                  <c:v>2022.0853898845555</c:v>
                </c:pt>
                <c:pt idx="4">
                  <c:v>2047.9829256126895</c:v>
                </c:pt>
                <c:pt idx="5">
                  <c:v>2100.1843645292161</c:v>
                </c:pt>
                <c:pt idx="6">
                  <c:v>2122.8352936827923</c:v>
                </c:pt>
                <c:pt idx="7">
                  <c:v>2101.2698990655363</c:v>
                </c:pt>
                <c:pt idx="8">
                  <c:v>2045.3439327209553</c:v>
                </c:pt>
                <c:pt idx="9">
                  <c:v>2009.1871525537595</c:v>
                </c:pt>
                <c:pt idx="10">
                  <c:v>2098.4211861697281</c:v>
                </c:pt>
                <c:pt idx="11">
                  <c:v>2180.798573374873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808-4D7C-B7B4-A72164FA3D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6092272"/>
        <c:axId val="216094352"/>
      </c:scatterChart>
      <c:valAx>
        <c:axId val="2160922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6094352"/>
        <c:crosses val="autoZero"/>
        <c:crossBetween val="midCat"/>
      </c:valAx>
      <c:valAx>
        <c:axId val="216094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609227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ko-KR"/>
              <a:t>Overall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Market Water Demand (Giga-Litres)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A$3:$A$1462</c:f>
              <c:numCache>
                <c:formatCode>"$"#,##0.00</c:formatCode>
                <c:ptCount val="1460"/>
                <c:pt idx="0">
                  <c:v>89.334249999999997</c:v>
                </c:pt>
                <c:pt idx="1">
                  <c:v>61.945999999999998</c:v>
                </c:pt>
                <c:pt idx="2">
                  <c:v>45.9017499999999</c:v>
                </c:pt>
                <c:pt idx="3">
                  <c:v>80.858249999999998</c:v>
                </c:pt>
                <c:pt idx="4">
                  <c:v>55.961833333333303</c:v>
                </c:pt>
                <c:pt idx="5">
                  <c:v>101.094833333333</c:v>
                </c:pt>
                <c:pt idx="6">
                  <c:v>26.664999999999999</c:v>
                </c:pt>
                <c:pt idx="7">
                  <c:v>38.894545454545401</c:v>
                </c:pt>
                <c:pt idx="8">
                  <c:v>46.715000000000003</c:v>
                </c:pt>
                <c:pt idx="9">
                  <c:v>46.208636363636302</c:v>
                </c:pt>
                <c:pt idx="10">
                  <c:v>41.856000000000002</c:v>
                </c:pt>
                <c:pt idx="11">
                  <c:v>46.013749999999902</c:v>
                </c:pt>
                <c:pt idx="12">
                  <c:v>34.894374999999997</c:v>
                </c:pt>
                <c:pt idx="13">
                  <c:v>53.312916666666602</c:v>
                </c:pt>
                <c:pt idx="14">
                  <c:v>70.307083333333296</c:v>
                </c:pt>
                <c:pt idx="15">
                  <c:v>64.552916666666604</c:v>
                </c:pt>
                <c:pt idx="16">
                  <c:v>49.776249999999997</c:v>
                </c:pt>
                <c:pt idx="17">
                  <c:v>61.483333333333299</c:v>
                </c:pt>
                <c:pt idx="18">
                  <c:v>56.407083333333297</c:v>
                </c:pt>
                <c:pt idx="19">
                  <c:v>69.813749999999999</c:v>
                </c:pt>
                <c:pt idx="20">
                  <c:v>53.609583333333298</c:v>
                </c:pt>
                <c:pt idx="21">
                  <c:v>53.2916666666666</c:v>
                </c:pt>
                <c:pt idx="22">
                  <c:v>53.844583333333297</c:v>
                </c:pt>
                <c:pt idx="23">
                  <c:v>53.347916666666599</c:v>
                </c:pt>
                <c:pt idx="24">
                  <c:v>55.712166666666597</c:v>
                </c:pt>
                <c:pt idx="25">
                  <c:v>66.450833333333307</c:v>
                </c:pt>
                <c:pt idx="26">
                  <c:v>78.998583333333301</c:v>
                </c:pt>
                <c:pt idx="27">
                  <c:v>159.797333333333</c:v>
                </c:pt>
                <c:pt idx="28">
                  <c:v>108.42100000000001</c:v>
                </c:pt>
                <c:pt idx="29">
                  <c:v>132.91399999999999</c:v>
                </c:pt>
                <c:pt idx="30">
                  <c:v>68.866583333333296</c:v>
                </c:pt>
                <c:pt idx="31">
                  <c:v>50.487499999999997</c:v>
                </c:pt>
                <c:pt idx="32">
                  <c:v>47.181833333333302</c:v>
                </c:pt>
                <c:pt idx="33">
                  <c:v>43.937833333333302</c:v>
                </c:pt>
                <c:pt idx="34">
                  <c:v>50.634124999999997</c:v>
                </c:pt>
                <c:pt idx="35">
                  <c:v>50.1071666666666</c:v>
                </c:pt>
                <c:pt idx="36">
                  <c:v>43.767999999999901</c:v>
                </c:pt>
                <c:pt idx="37">
                  <c:v>72.031833333333296</c:v>
                </c:pt>
                <c:pt idx="38">
                  <c:v>44.526333333333298</c:v>
                </c:pt>
                <c:pt idx="39">
                  <c:v>65.881833333333304</c:v>
                </c:pt>
                <c:pt idx="40">
                  <c:v>47.251666666666601</c:v>
                </c:pt>
                <c:pt idx="41">
                  <c:v>63.338166666666602</c:v>
                </c:pt>
                <c:pt idx="42">
                  <c:v>49.39425</c:v>
                </c:pt>
                <c:pt idx="43">
                  <c:v>77.915249999999901</c:v>
                </c:pt>
                <c:pt idx="44">
                  <c:v>48.651249999999997</c:v>
                </c:pt>
                <c:pt idx="45">
                  <c:v>59.662916666666597</c:v>
                </c:pt>
                <c:pt idx="46">
                  <c:v>44.107909090908997</c:v>
                </c:pt>
                <c:pt idx="47">
                  <c:v>45.838749999999997</c:v>
                </c:pt>
                <c:pt idx="48">
                  <c:v>51.144583333333301</c:v>
                </c:pt>
                <c:pt idx="49">
                  <c:v>73.990499999999997</c:v>
                </c:pt>
                <c:pt idx="50">
                  <c:v>49.5535833333333</c:v>
                </c:pt>
                <c:pt idx="51">
                  <c:v>69.318416666666593</c:v>
                </c:pt>
                <c:pt idx="52">
                  <c:v>59.5356666666666</c:v>
                </c:pt>
                <c:pt idx="53">
                  <c:v>87.515000000000001</c:v>
                </c:pt>
                <c:pt idx="54">
                  <c:v>47.820250000000001</c:v>
                </c:pt>
                <c:pt idx="55">
                  <c:v>70.217833333333303</c:v>
                </c:pt>
                <c:pt idx="56">
                  <c:v>63.731333333333303</c:v>
                </c:pt>
                <c:pt idx="57">
                  <c:v>81.990916666666607</c:v>
                </c:pt>
                <c:pt idx="58">
                  <c:v>60.905833333333298</c:v>
                </c:pt>
                <c:pt idx="59">
                  <c:v>73.409333333333294</c:v>
                </c:pt>
                <c:pt idx="60">
                  <c:v>48.490666666666598</c:v>
                </c:pt>
                <c:pt idx="61">
                  <c:v>92.988999999999905</c:v>
                </c:pt>
                <c:pt idx="62">
                  <c:v>56.500749999999996</c:v>
                </c:pt>
                <c:pt idx="63">
                  <c:v>66.637916666666598</c:v>
                </c:pt>
                <c:pt idx="64">
                  <c:v>41.845666666666602</c:v>
                </c:pt>
                <c:pt idx="65">
                  <c:v>86.525333333333293</c:v>
                </c:pt>
                <c:pt idx="66">
                  <c:v>58.5831666666666</c:v>
                </c:pt>
                <c:pt idx="67">
                  <c:v>60.772916666666603</c:v>
                </c:pt>
                <c:pt idx="68">
                  <c:v>42.946428571428498</c:v>
                </c:pt>
                <c:pt idx="69">
                  <c:v>55.469166666666602</c:v>
                </c:pt>
                <c:pt idx="70">
                  <c:v>48.9171428571428</c:v>
                </c:pt>
                <c:pt idx="71">
                  <c:v>45.340416666666599</c:v>
                </c:pt>
                <c:pt idx="72">
                  <c:v>39.444583333333298</c:v>
                </c:pt>
                <c:pt idx="73">
                  <c:v>43.482500000000002</c:v>
                </c:pt>
                <c:pt idx="74">
                  <c:v>42.508749999999999</c:v>
                </c:pt>
                <c:pt idx="75">
                  <c:v>53.663749999999901</c:v>
                </c:pt>
                <c:pt idx="76">
                  <c:v>66.761250000000004</c:v>
                </c:pt>
                <c:pt idx="77">
                  <c:v>61.345416666666601</c:v>
                </c:pt>
                <c:pt idx="78">
                  <c:v>67.138750000000002</c:v>
                </c:pt>
                <c:pt idx="79">
                  <c:v>76.004583333333301</c:v>
                </c:pt>
                <c:pt idx="80">
                  <c:v>43.415833333333303</c:v>
                </c:pt>
                <c:pt idx="81">
                  <c:v>49.037500000000001</c:v>
                </c:pt>
                <c:pt idx="82">
                  <c:v>37.9716666666666</c:v>
                </c:pt>
                <c:pt idx="83">
                  <c:v>50.853749999999998</c:v>
                </c:pt>
                <c:pt idx="84">
                  <c:v>45.630416666666598</c:v>
                </c:pt>
                <c:pt idx="85">
                  <c:v>44.034999999999997</c:v>
                </c:pt>
                <c:pt idx="86">
                  <c:v>174.000916666666</c:v>
                </c:pt>
                <c:pt idx="87">
                  <c:v>187.01124999999999</c:v>
                </c:pt>
                <c:pt idx="88">
                  <c:v>62.771833333333298</c:v>
                </c:pt>
                <c:pt idx="89">
                  <c:v>63.741250000000001</c:v>
                </c:pt>
                <c:pt idx="90">
                  <c:v>53.0446666666666</c:v>
                </c:pt>
                <c:pt idx="91">
                  <c:v>68.599166666666605</c:v>
                </c:pt>
                <c:pt idx="92">
                  <c:v>49.878666666666597</c:v>
                </c:pt>
                <c:pt idx="93">
                  <c:v>83.341833333333298</c:v>
                </c:pt>
                <c:pt idx="94">
                  <c:v>48.240416666666597</c:v>
                </c:pt>
                <c:pt idx="95">
                  <c:v>40.656666666666602</c:v>
                </c:pt>
                <c:pt idx="96">
                  <c:v>34.2363</c:v>
                </c:pt>
                <c:pt idx="97">
                  <c:v>41.783000000000001</c:v>
                </c:pt>
                <c:pt idx="98">
                  <c:v>38.522624999999998</c:v>
                </c:pt>
                <c:pt idx="99">
                  <c:v>66.541749999999993</c:v>
                </c:pt>
                <c:pt idx="100">
                  <c:v>46.525416666666601</c:v>
                </c:pt>
                <c:pt idx="101">
                  <c:v>153.26474999999999</c:v>
                </c:pt>
                <c:pt idx="102">
                  <c:v>58.492249999999899</c:v>
                </c:pt>
                <c:pt idx="103">
                  <c:v>102.680583333333</c:v>
                </c:pt>
                <c:pt idx="104">
                  <c:v>60.428666666666601</c:v>
                </c:pt>
                <c:pt idx="105">
                  <c:v>44.075749999999999</c:v>
                </c:pt>
                <c:pt idx="106">
                  <c:v>41.518250000000002</c:v>
                </c:pt>
                <c:pt idx="107">
                  <c:v>53.703000000000003</c:v>
                </c:pt>
                <c:pt idx="108">
                  <c:v>48.485166666666601</c:v>
                </c:pt>
                <c:pt idx="109">
                  <c:v>51.238500000000002</c:v>
                </c:pt>
                <c:pt idx="110">
                  <c:v>45.216000000000001</c:v>
                </c:pt>
                <c:pt idx="111">
                  <c:v>80.2231666666666</c:v>
                </c:pt>
                <c:pt idx="112">
                  <c:v>59.268833333333298</c:v>
                </c:pt>
                <c:pt idx="113">
                  <c:v>122.02416666666601</c:v>
                </c:pt>
                <c:pt idx="114">
                  <c:v>52.375166666666601</c:v>
                </c:pt>
                <c:pt idx="115">
                  <c:v>86.003166666666601</c:v>
                </c:pt>
                <c:pt idx="116">
                  <c:v>46.148416666666598</c:v>
                </c:pt>
                <c:pt idx="117">
                  <c:v>80.905249999999995</c:v>
                </c:pt>
                <c:pt idx="118">
                  <c:v>69.394666666666595</c:v>
                </c:pt>
                <c:pt idx="119">
                  <c:v>52.200499999999998</c:v>
                </c:pt>
                <c:pt idx="120">
                  <c:v>51.469666666666598</c:v>
                </c:pt>
                <c:pt idx="121">
                  <c:v>80.457083333333301</c:v>
                </c:pt>
                <c:pt idx="122">
                  <c:v>63.776000000000003</c:v>
                </c:pt>
                <c:pt idx="123">
                  <c:v>79.9641666666666</c:v>
                </c:pt>
                <c:pt idx="124">
                  <c:v>48.149166666666602</c:v>
                </c:pt>
                <c:pt idx="125">
                  <c:v>72.476249999999993</c:v>
                </c:pt>
                <c:pt idx="126">
                  <c:v>50.1383333333333</c:v>
                </c:pt>
                <c:pt idx="127">
                  <c:v>43.467083333333299</c:v>
                </c:pt>
                <c:pt idx="128">
                  <c:v>35.828333333333298</c:v>
                </c:pt>
                <c:pt idx="129">
                  <c:v>44.240833333333299</c:v>
                </c:pt>
                <c:pt idx="130">
                  <c:v>48.47625</c:v>
                </c:pt>
                <c:pt idx="131">
                  <c:v>64.392083333333304</c:v>
                </c:pt>
                <c:pt idx="132">
                  <c:v>57.506666666666597</c:v>
                </c:pt>
                <c:pt idx="133">
                  <c:v>60.60125</c:v>
                </c:pt>
                <c:pt idx="134">
                  <c:v>59.695416666666603</c:v>
                </c:pt>
                <c:pt idx="135">
                  <c:v>63.4149999999999</c:v>
                </c:pt>
                <c:pt idx="136">
                  <c:v>40.586428571428499</c:v>
                </c:pt>
                <c:pt idx="137">
                  <c:v>51.212499999999999</c:v>
                </c:pt>
                <c:pt idx="138">
                  <c:v>32.070454545454503</c:v>
                </c:pt>
                <c:pt idx="139">
                  <c:v>57.2349999999999</c:v>
                </c:pt>
                <c:pt idx="140">
                  <c:v>40.739999999999903</c:v>
                </c:pt>
                <c:pt idx="141">
                  <c:v>46.875833333333297</c:v>
                </c:pt>
                <c:pt idx="142">
                  <c:v>35.6323636363636</c:v>
                </c:pt>
                <c:pt idx="143">
                  <c:v>49.200416666666598</c:v>
                </c:pt>
                <c:pt idx="144">
                  <c:v>50.580750000000002</c:v>
                </c:pt>
                <c:pt idx="145">
                  <c:v>47.971090909090897</c:v>
                </c:pt>
                <c:pt idx="146">
                  <c:v>56.944499999999998</c:v>
                </c:pt>
                <c:pt idx="147">
                  <c:v>55.517916666666601</c:v>
                </c:pt>
                <c:pt idx="148">
                  <c:v>42.779142857142801</c:v>
                </c:pt>
                <c:pt idx="149">
                  <c:v>50.096333333333298</c:v>
                </c:pt>
                <c:pt idx="150">
                  <c:v>56.752999999999901</c:v>
                </c:pt>
                <c:pt idx="151">
                  <c:v>62.233666666666601</c:v>
                </c:pt>
                <c:pt idx="152">
                  <c:v>58.376583333333301</c:v>
                </c:pt>
                <c:pt idx="153">
                  <c:v>76.446166666666599</c:v>
                </c:pt>
                <c:pt idx="154">
                  <c:v>59.417250000000003</c:v>
                </c:pt>
                <c:pt idx="155">
                  <c:v>77.689083333333301</c:v>
                </c:pt>
                <c:pt idx="156">
                  <c:v>60.7068333333333</c:v>
                </c:pt>
                <c:pt idx="157">
                  <c:v>54.075499999999998</c:v>
                </c:pt>
                <c:pt idx="158">
                  <c:v>58.074090909090899</c:v>
                </c:pt>
                <c:pt idx="159">
                  <c:v>58.947666666666599</c:v>
                </c:pt>
                <c:pt idx="160">
                  <c:v>50.550444444444402</c:v>
                </c:pt>
                <c:pt idx="161">
                  <c:v>54.709249999999997</c:v>
                </c:pt>
                <c:pt idx="162">
                  <c:v>44.055250000000001</c:v>
                </c:pt>
                <c:pt idx="163">
                  <c:v>52.375399999999999</c:v>
                </c:pt>
                <c:pt idx="164">
                  <c:v>56.051000000000002</c:v>
                </c:pt>
                <c:pt idx="165">
                  <c:v>49.247363636363602</c:v>
                </c:pt>
                <c:pt idx="166">
                  <c:v>51.720125000000003</c:v>
                </c:pt>
                <c:pt idx="167">
                  <c:v>58.361166666666598</c:v>
                </c:pt>
                <c:pt idx="168">
                  <c:v>39.493714285714198</c:v>
                </c:pt>
                <c:pt idx="169">
                  <c:v>49.298749999999998</c:v>
                </c:pt>
                <c:pt idx="170">
                  <c:v>56.920916666666599</c:v>
                </c:pt>
                <c:pt idx="171">
                  <c:v>47.455500000000001</c:v>
                </c:pt>
                <c:pt idx="172">
                  <c:v>35.969888888888804</c:v>
                </c:pt>
                <c:pt idx="173">
                  <c:v>42.944777777777702</c:v>
                </c:pt>
                <c:pt idx="174">
                  <c:v>36.922249999999998</c:v>
                </c:pt>
                <c:pt idx="175">
                  <c:v>36.546333333333301</c:v>
                </c:pt>
                <c:pt idx="176">
                  <c:v>37.124400000000001</c:v>
                </c:pt>
                <c:pt idx="177">
                  <c:v>42.941666666666599</c:v>
                </c:pt>
                <c:pt idx="178">
                  <c:v>31.945999999999898</c:v>
                </c:pt>
                <c:pt idx="179">
                  <c:v>50.933333333333302</c:v>
                </c:pt>
                <c:pt idx="180">
                  <c:v>53.714300000000001</c:v>
                </c:pt>
                <c:pt idx="181">
                  <c:v>50.493333333333297</c:v>
                </c:pt>
                <c:pt idx="182">
                  <c:v>63.067083333333301</c:v>
                </c:pt>
                <c:pt idx="183">
                  <c:v>78.320583333333303</c:v>
                </c:pt>
                <c:pt idx="184">
                  <c:v>62.180583333333303</c:v>
                </c:pt>
                <c:pt idx="185">
                  <c:v>60.060250000000003</c:v>
                </c:pt>
                <c:pt idx="186">
                  <c:v>45.017499999999998</c:v>
                </c:pt>
                <c:pt idx="187">
                  <c:v>79.766666666666595</c:v>
                </c:pt>
                <c:pt idx="188">
                  <c:v>40.561666666666603</c:v>
                </c:pt>
                <c:pt idx="189">
                  <c:v>47.821818181818102</c:v>
                </c:pt>
                <c:pt idx="190">
                  <c:v>43.174583333333302</c:v>
                </c:pt>
                <c:pt idx="191">
                  <c:v>54.176666666666598</c:v>
                </c:pt>
                <c:pt idx="192">
                  <c:v>49.405416666666603</c:v>
                </c:pt>
                <c:pt idx="193">
                  <c:v>73.729583333333295</c:v>
                </c:pt>
                <c:pt idx="194">
                  <c:v>44.014999999999901</c:v>
                </c:pt>
                <c:pt idx="195">
                  <c:v>51.409583333333302</c:v>
                </c:pt>
                <c:pt idx="196">
                  <c:v>47.154583333333299</c:v>
                </c:pt>
                <c:pt idx="197">
                  <c:v>65.525416666666601</c:v>
                </c:pt>
                <c:pt idx="198">
                  <c:v>61.518333333333302</c:v>
                </c:pt>
                <c:pt idx="199">
                  <c:v>79.883750000000006</c:v>
                </c:pt>
                <c:pt idx="200">
                  <c:v>53.233749999999901</c:v>
                </c:pt>
                <c:pt idx="201">
                  <c:v>88.894999999999996</c:v>
                </c:pt>
                <c:pt idx="202">
                  <c:v>28.648499999999999</c:v>
                </c:pt>
                <c:pt idx="203">
                  <c:v>44.792916666666599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03</c:v>
                </c:pt>
                <c:pt idx="207">
                  <c:v>53.55</c:v>
                </c:pt>
                <c:pt idx="208">
                  <c:v>52.564166666666601</c:v>
                </c:pt>
                <c:pt idx="209">
                  <c:v>56.3049999999999</c:v>
                </c:pt>
                <c:pt idx="210">
                  <c:v>50.992916666666602</c:v>
                </c:pt>
                <c:pt idx="211">
                  <c:v>54.992916666666602</c:v>
                </c:pt>
                <c:pt idx="212">
                  <c:v>50.9091666666666</c:v>
                </c:pt>
                <c:pt idx="213">
                  <c:v>50.233333333333299</c:v>
                </c:pt>
                <c:pt idx="214">
                  <c:v>45.06</c:v>
                </c:pt>
                <c:pt idx="215">
                  <c:v>48.699583333333301</c:v>
                </c:pt>
                <c:pt idx="216">
                  <c:v>48.758333333333297</c:v>
                </c:pt>
                <c:pt idx="217">
                  <c:v>48.168333333333301</c:v>
                </c:pt>
                <c:pt idx="218">
                  <c:v>50.261666666666599</c:v>
                </c:pt>
                <c:pt idx="219">
                  <c:v>47.798333333333296</c:v>
                </c:pt>
                <c:pt idx="220">
                  <c:v>49.244166666666601</c:v>
                </c:pt>
                <c:pt idx="221">
                  <c:v>50.734583333333298</c:v>
                </c:pt>
                <c:pt idx="222">
                  <c:v>53.69</c:v>
                </c:pt>
                <c:pt idx="223">
                  <c:v>53.271666666666597</c:v>
                </c:pt>
                <c:pt idx="224">
                  <c:v>49.4508333333333</c:v>
                </c:pt>
                <c:pt idx="225">
                  <c:v>52.059166666666599</c:v>
                </c:pt>
                <c:pt idx="226">
                  <c:v>37.89</c:v>
                </c:pt>
                <c:pt idx="227">
                  <c:v>45.816666666666599</c:v>
                </c:pt>
                <c:pt idx="228">
                  <c:v>36.757083333333298</c:v>
                </c:pt>
                <c:pt idx="229">
                  <c:v>44.214583333333302</c:v>
                </c:pt>
                <c:pt idx="230">
                  <c:v>49.384583333333303</c:v>
                </c:pt>
                <c:pt idx="231">
                  <c:v>48.080416666666601</c:v>
                </c:pt>
                <c:pt idx="232">
                  <c:v>52.469583333333297</c:v>
                </c:pt>
                <c:pt idx="233">
                  <c:v>53.402916666666599</c:v>
                </c:pt>
                <c:pt idx="234">
                  <c:v>39.446249999999999</c:v>
                </c:pt>
                <c:pt idx="235">
                  <c:v>47.963333333333303</c:v>
                </c:pt>
                <c:pt idx="236">
                  <c:v>42.502222222222201</c:v>
                </c:pt>
                <c:pt idx="237">
                  <c:v>44.941666666666599</c:v>
                </c:pt>
                <c:pt idx="238">
                  <c:v>45.204285714285703</c:v>
                </c:pt>
                <c:pt idx="239">
                  <c:v>48.322083333333303</c:v>
                </c:pt>
                <c:pt idx="240">
                  <c:v>44.181666666666601</c:v>
                </c:pt>
                <c:pt idx="241">
                  <c:v>79.288727272727201</c:v>
                </c:pt>
                <c:pt idx="242">
                  <c:v>51.941249999999997</c:v>
                </c:pt>
                <c:pt idx="243">
                  <c:v>49.0996666666666</c:v>
                </c:pt>
                <c:pt idx="244">
                  <c:v>66.743333333333297</c:v>
                </c:pt>
                <c:pt idx="245">
                  <c:v>59.953249999999997</c:v>
                </c:pt>
                <c:pt idx="246">
                  <c:v>48.052500000000002</c:v>
                </c:pt>
                <c:pt idx="247">
                  <c:v>43.413333333333298</c:v>
                </c:pt>
                <c:pt idx="248">
                  <c:v>41.137499999999903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01</c:v>
                </c:pt>
                <c:pt idx="252">
                  <c:v>70.624166666666596</c:v>
                </c:pt>
                <c:pt idx="253">
                  <c:v>75.650833333333296</c:v>
                </c:pt>
                <c:pt idx="254">
                  <c:v>48.5474999999999</c:v>
                </c:pt>
                <c:pt idx="255">
                  <c:v>45.350833333333298</c:v>
                </c:pt>
                <c:pt idx="256">
                  <c:v>47.290833333333303</c:v>
                </c:pt>
                <c:pt idx="257">
                  <c:v>60.935416666666598</c:v>
                </c:pt>
                <c:pt idx="258">
                  <c:v>60.887916666666598</c:v>
                </c:pt>
                <c:pt idx="259">
                  <c:v>73.694583333333298</c:v>
                </c:pt>
                <c:pt idx="260">
                  <c:v>57.995833333333302</c:v>
                </c:pt>
                <c:pt idx="261">
                  <c:v>49.681249999999999</c:v>
                </c:pt>
                <c:pt idx="262">
                  <c:v>28.802777777777699</c:v>
                </c:pt>
                <c:pt idx="263">
                  <c:v>57.887916666666598</c:v>
                </c:pt>
                <c:pt idx="264">
                  <c:v>34.658124999999998</c:v>
                </c:pt>
                <c:pt idx="265">
                  <c:v>42.6458333333333</c:v>
                </c:pt>
                <c:pt idx="266">
                  <c:v>38.750833333333297</c:v>
                </c:pt>
                <c:pt idx="267">
                  <c:v>44.832083333333301</c:v>
                </c:pt>
                <c:pt idx="268">
                  <c:v>37.403888888888801</c:v>
                </c:pt>
                <c:pt idx="269">
                  <c:v>46.276249999999997</c:v>
                </c:pt>
                <c:pt idx="270">
                  <c:v>37.748750000000001</c:v>
                </c:pt>
                <c:pt idx="271">
                  <c:v>46.262083333333301</c:v>
                </c:pt>
                <c:pt idx="272">
                  <c:v>39.879090909090898</c:v>
                </c:pt>
                <c:pt idx="273">
                  <c:v>47.372916666666598</c:v>
                </c:pt>
                <c:pt idx="274">
                  <c:v>40.558181818181801</c:v>
                </c:pt>
                <c:pt idx="275">
                  <c:v>53.550416666666599</c:v>
                </c:pt>
                <c:pt idx="276">
                  <c:v>47.153750000000002</c:v>
                </c:pt>
                <c:pt idx="277">
                  <c:v>54.608333333333299</c:v>
                </c:pt>
                <c:pt idx="278">
                  <c:v>50.127083333333303</c:v>
                </c:pt>
                <c:pt idx="279">
                  <c:v>49.530833333333298</c:v>
                </c:pt>
                <c:pt idx="280">
                  <c:v>38.462499999999999</c:v>
                </c:pt>
                <c:pt idx="281">
                  <c:v>47.275416666666601</c:v>
                </c:pt>
                <c:pt idx="282">
                  <c:v>45.832500000000003</c:v>
                </c:pt>
                <c:pt idx="283">
                  <c:v>50.742916666666602</c:v>
                </c:pt>
                <c:pt idx="284">
                  <c:v>46.262499999999903</c:v>
                </c:pt>
                <c:pt idx="285">
                  <c:v>49.195</c:v>
                </c:pt>
                <c:pt idx="286">
                  <c:v>37.257083333333298</c:v>
                </c:pt>
                <c:pt idx="287">
                  <c:v>43.033333333333303</c:v>
                </c:pt>
                <c:pt idx="288">
                  <c:v>39.896428571428501</c:v>
                </c:pt>
                <c:pt idx="289">
                  <c:v>53.087499999999999</c:v>
                </c:pt>
                <c:pt idx="290">
                  <c:v>44.002499999999998</c:v>
                </c:pt>
                <c:pt idx="291">
                  <c:v>50.586666666666602</c:v>
                </c:pt>
                <c:pt idx="292">
                  <c:v>46.027083333333302</c:v>
                </c:pt>
                <c:pt idx="293">
                  <c:v>51.392916666666601</c:v>
                </c:pt>
                <c:pt idx="294">
                  <c:v>46.5908333333333</c:v>
                </c:pt>
                <c:pt idx="295">
                  <c:v>54.303750000000001</c:v>
                </c:pt>
                <c:pt idx="296">
                  <c:v>45.068750000000001</c:v>
                </c:pt>
                <c:pt idx="297">
                  <c:v>42.706249999999997</c:v>
                </c:pt>
                <c:pt idx="298">
                  <c:v>35.205555555555499</c:v>
                </c:pt>
                <c:pt idx="299">
                  <c:v>49.220833333333303</c:v>
                </c:pt>
                <c:pt idx="300">
                  <c:v>42.534374999999997</c:v>
                </c:pt>
                <c:pt idx="301">
                  <c:v>49.414090909090902</c:v>
                </c:pt>
                <c:pt idx="302">
                  <c:v>53.580699999999901</c:v>
                </c:pt>
                <c:pt idx="303">
                  <c:v>84.922083333333305</c:v>
                </c:pt>
                <c:pt idx="304">
                  <c:v>39.346999999999902</c:v>
                </c:pt>
                <c:pt idx="305">
                  <c:v>43.315916666666602</c:v>
                </c:pt>
                <c:pt idx="306">
                  <c:v>47.9022222222222</c:v>
                </c:pt>
                <c:pt idx="307">
                  <c:v>54.980166666666598</c:v>
                </c:pt>
                <c:pt idx="308">
                  <c:v>35.089999999999897</c:v>
                </c:pt>
                <c:pt idx="309">
                  <c:v>41.228333333333303</c:v>
                </c:pt>
                <c:pt idx="310">
                  <c:v>48.412916666666597</c:v>
                </c:pt>
                <c:pt idx="311">
                  <c:v>49.219999999999899</c:v>
                </c:pt>
                <c:pt idx="312">
                  <c:v>51.047083333333298</c:v>
                </c:pt>
                <c:pt idx="313">
                  <c:v>53.327916666666603</c:v>
                </c:pt>
                <c:pt idx="314">
                  <c:v>46.842500000000001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297</c:v>
                </c:pt>
                <c:pt idx="318">
                  <c:v>40.827083333333299</c:v>
                </c:pt>
                <c:pt idx="319">
                  <c:v>51.916249999999998</c:v>
                </c:pt>
                <c:pt idx="320">
                  <c:v>58.307499999999997</c:v>
                </c:pt>
                <c:pt idx="321">
                  <c:v>79.133749999999907</c:v>
                </c:pt>
                <c:pt idx="322">
                  <c:v>52.497499999999903</c:v>
                </c:pt>
                <c:pt idx="323">
                  <c:v>47.962916666666601</c:v>
                </c:pt>
                <c:pt idx="324">
                  <c:v>62.5412499999998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02</c:v>
                </c:pt>
                <c:pt idx="328">
                  <c:v>41.010833333333302</c:v>
                </c:pt>
                <c:pt idx="329">
                  <c:v>48.966249999999903</c:v>
                </c:pt>
                <c:pt idx="330">
                  <c:v>46.856666666666598</c:v>
                </c:pt>
                <c:pt idx="331">
                  <c:v>60.067499999999903</c:v>
                </c:pt>
                <c:pt idx="332">
                  <c:v>46.485833333333296</c:v>
                </c:pt>
                <c:pt idx="333">
                  <c:v>63.379999999999903</c:v>
                </c:pt>
                <c:pt idx="334">
                  <c:v>56.775833333333303</c:v>
                </c:pt>
                <c:pt idx="335">
                  <c:v>71.761666666666599</c:v>
                </c:pt>
                <c:pt idx="336">
                  <c:v>57.215416666666599</c:v>
                </c:pt>
                <c:pt idx="337">
                  <c:v>72.071666666666601</c:v>
                </c:pt>
                <c:pt idx="338">
                  <c:v>55.789166666666603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000000000002</c:v>
                </c:pt>
                <c:pt idx="342">
                  <c:v>38.531111111111102</c:v>
                </c:pt>
                <c:pt idx="343">
                  <c:v>51.300416666666599</c:v>
                </c:pt>
                <c:pt idx="344">
                  <c:v>35.748125000000002</c:v>
                </c:pt>
                <c:pt idx="345">
                  <c:v>43.7841666666666</c:v>
                </c:pt>
                <c:pt idx="346">
                  <c:v>32.951000000000001</c:v>
                </c:pt>
                <c:pt idx="347">
                  <c:v>45.659583333333302</c:v>
                </c:pt>
                <c:pt idx="348">
                  <c:v>42.175909090909002</c:v>
                </c:pt>
                <c:pt idx="349">
                  <c:v>45.818750000000001</c:v>
                </c:pt>
                <c:pt idx="350">
                  <c:v>45.181249999999999</c:v>
                </c:pt>
                <c:pt idx="351">
                  <c:v>59.650833333333303</c:v>
                </c:pt>
                <c:pt idx="352">
                  <c:v>53.089999999999897</c:v>
                </c:pt>
                <c:pt idx="353">
                  <c:v>59.624166666666603</c:v>
                </c:pt>
                <c:pt idx="354">
                  <c:v>52.540833333333303</c:v>
                </c:pt>
                <c:pt idx="355">
                  <c:v>52.706666666666599</c:v>
                </c:pt>
                <c:pt idx="356">
                  <c:v>50.466250000000002</c:v>
                </c:pt>
                <c:pt idx="357">
                  <c:v>57.71333333333330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4999999997</c:v>
                </c:pt>
                <c:pt idx="361">
                  <c:v>54.031249999999901</c:v>
                </c:pt>
                <c:pt idx="362">
                  <c:v>80.355500000000006</c:v>
                </c:pt>
                <c:pt idx="363">
                  <c:v>197.62691666666601</c:v>
                </c:pt>
                <c:pt idx="364">
                  <c:v>38.401499999999999</c:v>
                </c:pt>
                <c:pt idx="365">
                  <c:v>43.864916666666602</c:v>
                </c:pt>
                <c:pt idx="366">
                  <c:v>44.829500000000003</c:v>
                </c:pt>
                <c:pt idx="367">
                  <c:v>61.380749999999999</c:v>
                </c:pt>
                <c:pt idx="368">
                  <c:v>26.107499999999899</c:v>
                </c:pt>
                <c:pt idx="369">
                  <c:v>45.783333333333303</c:v>
                </c:pt>
                <c:pt idx="370">
                  <c:v>51.353749999999998</c:v>
                </c:pt>
                <c:pt idx="371">
                  <c:v>42.387</c:v>
                </c:pt>
                <c:pt idx="372">
                  <c:v>52.655000000000001</c:v>
                </c:pt>
                <c:pt idx="373">
                  <c:v>53.036666666666598</c:v>
                </c:pt>
                <c:pt idx="374">
                  <c:v>36.664583333333297</c:v>
                </c:pt>
                <c:pt idx="375">
                  <c:v>70.017499999999998</c:v>
                </c:pt>
                <c:pt idx="376">
                  <c:v>45.737083333333302</c:v>
                </c:pt>
                <c:pt idx="377">
                  <c:v>47.952916666666603</c:v>
                </c:pt>
                <c:pt idx="378">
                  <c:v>48.643333333333302</c:v>
                </c:pt>
                <c:pt idx="379">
                  <c:v>53.9433333333333</c:v>
                </c:pt>
                <c:pt idx="380">
                  <c:v>78.154166666666598</c:v>
                </c:pt>
                <c:pt idx="381">
                  <c:v>72.477916666666601</c:v>
                </c:pt>
                <c:pt idx="382">
                  <c:v>43.243333333333297</c:v>
                </c:pt>
                <c:pt idx="383">
                  <c:v>67.462083333333297</c:v>
                </c:pt>
                <c:pt idx="384">
                  <c:v>50.933333333333302</c:v>
                </c:pt>
                <c:pt idx="385">
                  <c:v>50.860833333333296</c:v>
                </c:pt>
                <c:pt idx="386">
                  <c:v>46.814583333333303</c:v>
                </c:pt>
                <c:pt idx="387">
                  <c:v>65.967083333333306</c:v>
                </c:pt>
                <c:pt idx="388">
                  <c:v>52.462499999999999</c:v>
                </c:pt>
                <c:pt idx="389">
                  <c:v>67.153750000000002</c:v>
                </c:pt>
                <c:pt idx="390">
                  <c:v>57.936250000000001</c:v>
                </c:pt>
                <c:pt idx="391">
                  <c:v>59.931666666666601</c:v>
                </c:pt>
                <c:pt idx="392">
                  <c:v>60.722499999999997</c:v>
                </c:pt>
                <c:pt idx="393">
                  <c:v>59.856250000000003</c:v>
                </c:pt>
                <c:pt idx="394">
                  <c:v>51.819999999999901</c:v>
                </c:pt>
                <c:pt idx="395">
                  <c:v>76.141666666666595</c:v>
                </c:pt>
                <c:pt idx="396">
                  <c:v>66.974999999999994</c:v>
                </c:pt>
                <c:pt idx="397">
                  <c:v>82.171666666666596</c:v>
                </c:pt>
                <c:pt idx="398">
                  <c:v>50.0162499999999</c:v>
                </c:pt>
                <c:pt idx="399">
                  <c:v>64.713333333333296</c:v>
                </c:pt>
                <c:pt idx="400">
                  <c:v>44.022500000000001</c:v>
                </c:pt>
                <c:pt idx="401">
                  <c:v>54.5445833333333</c:v>
                </c:pt>
                <c:pt idx="402">
                  <c:v>44.419166666666598</c:v>
                </c:pt>
                <c:pt idx="403">
                  <c:v>74.711666666666602</c:v>
                </c:pt>
                <c:pt idx="404">
                  <c:v>43.5283333333333</c:v>
                </c:pt>
                <c:pt idx="405">
                  <c:v>58.199583333333301</c:v>
                </c:pt>
                <c:pt idx="406">
                  <c:v>38.403888888888801</c:v>
                </c:pt>
                <c:pt idx="407">
                  <c:v>48.528750000000002</c:v>
                </c:pt>
                <c:pt idx="408">
                  <c:v>45.454583333333296</c:v>
                </c:pt>
                <c:pt idx="409">
                  <c:v>65.091249999999903</c:v>
                </c:pt>
                <c:pt idx="410">
                  <c:v>53.253749999999997</c:v>
                </c:pt>
                <c:pt idx="411">
                  <c:v>62.634999999999899</c:v>
                </c:pt>
                <c:pt idx="412">
                  <c:v>43.797916666666602</c:v>
                </c:pt>
                <c:pt idx="413">
                  <c:v>74.790416666666601</c:v>
                </c:pt>
                <c:pt idx="414">
                  <c:v>54.195</c:v>
                </c:pt>
                <c:pt idx="415">
                  <c:v>81.428749999999994</c:v>
                </c:pt>
                <c:pt idx="416">
                  <c:v>61.591666666666598</c:v>
                </c:pt>
                <c:pt idx="417">
                  <c:v>84.004999999999995</c:v>
                </c:pt>
                <c:pt idx="418">
                  <c:v>73.071250000000006</c:v>
                </c:pt>
                <c:pt idx="419">
                  <c:v>89.251666666666594</c:v>
                </c:pt>
                <c:pt idx="420">
                  <c:v>70.024583333333297</c:v>
                </c:pt>
                <c:pt idx="421">
                  <c:v>72.64</c:v>
                </c:pt>
                <c:pt idx="422">
                  <c:v>63.719166666666602</c:v>
                </c:pt>
                <c:pt idx="423">
                  <c:v>76.680416666666602</c:v>
                </c:pt>
                <c:pt idx="424">
                  <c:v>97.3719999999999</c:v>
                </c:pt>
                <c:pt idx="425">
                  <c:v>87.475083333333302</c:v>
                </c:pt>
                <c:pt idx="426">
                  <c:v>42.447888888888798</c:v>
                </c:pt>
                <c:pt idx="427">
                  <c:v>54.379166666666599</c:v>
                </c:pt>
                <c:pt idx="428">
                  <c:v>47.226333333333301</c:v>
                </c:pt>
                <c:pt idx="429">
                  <c:v>65.741166666666601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4999999999997</c:v>
                </c:pt>
                <c:pt idx="433">
                  <c:v>49.103333333333303</c:v>
                </c:pt>
                <c:pt idx="434">
                  <c:v>48.378749999999997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0000000004</c:v>
                </c:pt>
                <c:pt idx="438">
                  <c:v>59.590416666666599</c:v>
                </c:pt>
                <c:pt idx="439">
                  <c:v>72.096666666666593</c:v>
                </c:pt>
                <c:pt idx="440">
                  <c:v>47.9270833333333</c:v>
                </c:pt>
                <c:pt idx="441">
                  <c:v>57.243333333333297</c:v>
                </c:pt>
                <c:pt idx="442">
                  <c:v>63.758333333333297</c:v>
                </c:pt>
                <c:pt idx="443">
                  <c:v>69.530833333333305</c:v>
                </c:pt>
                <c:pt idx="444">
                  <c:v>55.008749999999999</c:v>
                </c:pt>
                <c:pt idx="445">
                  <c:v>67.959583333333299</c:v>
                </c:pt>
                <c:pt idx="446">
                  <c:v>58.454999999999899</c:v>
                </c:pt>
                <c:pt idx="447">
                  <c:v>59.5133333333333</c:v>
                </c:pt>
                <c:pt idx="448">
                  <c:v>62.106250000000003</c:v>
                </c:pt>
                <c:pt idx="449">
                  <c:v>75.083749999999995</c:v>
                </c:pt>
                <c:pt idx="450">
                  <c:v>72.067499999999995</c:v>
                </c:pt>
                <c:pt idx="451">
                  <c:v>69.167083333333295</c:v>
                </c:pt>
                <c:pt idx="452">
                  <c:v>47.772083333333299</c:v>
                </c:pt>
                <c:pt idx="453">
                  <c:v>57.986249999999899</c:v>
                </c:pt>
                <c:pt idx="454">
                  <c:v>53.971249999999998</c:v>
                </c:pt>
                <c:pt idx="455">
                  <c:v>66.100833333333298</c:v>
                </c:pt>
                <c:pt idx="456">
                  <c:v>48.206249999999997</c:v>
                </c:pt>
                <c:pt idx="457">
                  <c:v>63.657499999999999</c:v>
                </c:pt>
                <c:pt idx="458">
                  <c:v>46.99</c:v>
                </c:pt>
                <c:pt idx="459">
                  <c:v>61.338333333333303</c:v>
                </c:pt>
                <c:pt idx="460">
                  <c:v>40.4195833333333</c:v>
                </c:pt>
                <c:pt idx="461">
                  <c:v>54.921666666666603</c:v>
                </c:pt>
                <c:pt idx="462">
                  <c:v>55.743749999999899</c:v>
                </c:pt>
                <c:pt idx="463">
                  <c:v>64.784166666666593</c:v>
                </c:pt>
                <c:pt idx="464">
                  <c:v>39.407916666666601</c:v>
                </c:pt>
                <c:pt idx="465">
                  <c:v>45.298333333333296</c:v>
                </c:pt>
                <c:pt idx="466">
                  <c:v>42.202727272727202</c:v>
                </c:pt>
                <c:pt idx="467">
                  <c:v>56.2558333333333</c:v>
                </c:pt>
                <c:pt idx="468">
                  <c:v>44.347499999999997</c:v>
                </c:pt>
                <c:pt idx="469">
                  <c:v>60.957083333333301</c:v>
                </c:pt>
                <c:pt idx="470">
                  <c:v>46.731666666666598</c:v>
                </c:pt>
                <c:pt idx="471">
                  <c:v>56.807083333333303</c:v>
                </c:pt>
                <c:pt idx="472">
                  <c:v>41.453333333333298</c:v>
                </c:pt>
                <c:pt idx="473">
                  <c:v>56.362916666666599</c:v>
                </c:pt>
                <c:pt idx="474">
                  <c:v>44.294999999999902</c:v>
                </c:pt>
                <c:pt idx="475">
                  <c:v>56.652083333333302</c:v>
                </c:pt>
                <c:pt idx="476">
                  <c:v>54.389583333333299</c:v>
                </c:pt>
                <c:pt idx="477">
                  <c:v>79.165416666666601</c:v>
                </c:pt>
                <c:pt idx="478">
                  <c:v>54.53875</c:v>
                </c:pt>
                <c:pt idx="479">
                  <c:v>56.990833333333299</c:v>
                </c:pt>
                <c:pt idx="480">
                  <c:v>46.333750000000002</c:v>
                </c:pt>
                <c:pt idx="481">
                  <c:v>59.141666666666602</c:v>
                </c:pt>
                <c:pt idx="482">
                  <c:v>39.871666666666599</c:v>
                </c:pt>
                <c:pt idx="483">
                  <c:v>42.424166666666601</c:v>
                </c:pt>
                <c:pt idx="484">
                  <c:v>31.869166666666601</c:v>
                </c:pt>
                <c:pt idx="485">
                  <c:v>51.942083333333301</c:v>
                </c:pt>
                <c:pt idx="486">
                  <c:v>71.976583333333295</c:v>
                </c:pt>
                <c:pt idx="487">
                  <c:v>55.570500000000003</c:v>
                </c:pt>
                <c:pt idx="488">
                  <c:v>35.178818181818102</c:v>
                </c:pt>
                <c:pt idx="489">
                  <c:v>82.808583333333303</c:v>
                </c:pt>
                <c:pt idx="490">
                  <c:v>44.022727272727202</c:v>
                </c:pt>
                <c:pt idx="491">
                  <c:v>80.227000000000004</c:v>
                </c:pt>
                <c:pt idx="492">
                  <c:v>55.7558333333333</c:v>
                </c:pt>
                <c:pt idx="493">
                  <c:v>62.750833333333297</c:v>
                </c:pt>
                <c:pt idx="494">
                  <c:v>33.043333333333301</c:v>
                </c:pt>
                <c:pt idx="495">
                  <c:v>37.844583333333297</c:v>
                </c:pt>
                <c:pt idx="496">
                  <c:v>47.879999999999903</c:v>
                </c:pt>
                <c:pt idx="497">
                  <c:v>50.42</c:v>
                </c:pt>
                <c:pt idx="498">
                  <c:v>47.507083333333298</c:v>
                </c:pt>
                <c:pt idx="499">
                  <c:v>74.433333333333294</c:v>
                </c:pt>
                <c:pt idx="500">
                  <c:v>72.467083333333306</c:v>
                </c:pt>
                <c:pt idx="501">
                  <c:v>77.196250000000006</c:v>
                </c:pt>
                <c:pt idx="502">
                  <c:v>52.41</c:v>
                </c:pt>
                <c:pt idx="503">
                  <c:v>73.879999999999896</c:v>
                </c:pt>
                <c:pt idx="504">
                  <c:v>62.469166666666602</c:v>
                </c:pt>
                <c:pt idx="505">
                  <c:v>70.363333333333301</c:v>
                </c:pt>
                <c:pt idx="506">
                  <c:v>48.371249999999897</c:v>
                </c:pt>
                <c:pt idx="507">
                  <c:v>88.029583333333306</c:v>
                </c:pt>
                <c:pt idx="508">
                  <c:v>51.335833333333298</c:v>
                </c:pt>
                <c:pt idx="509">
                  <c:v>65.329583333333304</c:v>
                </c:pt>
                <c:pt idx="510">
                  <c:v>53.769999999999897</c:v>
                </c:pt>
                <c:pt idx="511">
                  <c:v>63.956999999999901</c:v>
                </c:pt>
                <c:pt idx="512">
                  <c:v>51.338749999999997</c:v>
                </c:pt>
                <c:pt idx="513">
                  <c:v>54.9345833333333</c:v>
                </c:pt>
                <c:pt idx="514">
                  <c:v>34.522500000000001</c:v>
                </c:pt>
                <c:pt idx="515">
                  <c:v>54.936250000000001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03</c:v>
                </c:pt>
                <c:pt idx="519">
                  <c:v>77.517499999999998</c:v>
                </c:pt>
                <c:pt idx="520">
                  <c:v>49.554583333333298</c:v>
                </c:pt>
                <c:pt idx="521">
                  <c:v>52.442916666666598</c:v>
                </c:pt>
                <c:pt idx="522">
                  <c:v>49.8287499999999</c:v>
                </c:pt>
                <c:pt idx="523">
                  <c:v>67.549583333333302</c:v>
                </c:pt>
                <c:pt idx="524">
                  <c:v>48.207500000000003</c:v>
                </c:pt>
                <c:pt idx="525">
                  <c:v>46.808749999999897</c:v>
                </c:pt>
                <c:pt idx="526">
                  <c:v>45.873750000000001</c:v>
                </c:pt>
                <c:pt idx="527">
                  <c:v>47.7245833333333</c:v>
                </c:pt>
                <c:pt idx="528">
                  <c:v>28.845999999999901</c:v>
                </c:pt>
                <c:pt idx="529">
                  <c:v>60.244583333333303</c:v>
                </c:pt>
                <c:pt idx="530">
                  <c:v>36.316249999999997</c:v>
                </c:pt>
                <c:pt idx="531">
                  <c:v>44.537499999999902</c:v>
                </c:pt>
                <c:pt idx="532">
                  <c:v>34.553333333333299</c:v>
                </c:pt>
                <c:pt idx="533">
                  <c:v>53.402499999999897</c:v>
                </c:pt>
                <c:pt idx="534">
                  <c:v>50.355833333333301</c:v>
                </c:pt>
                <c:pt idx="535">
                  <c:v>59.463749999999997</c:v>
                </c:pt>
                <c:pt idx="536">
                  <c:v>50.248333333333299</c:v>
                </c:pt>
                <c:pt idx="537">
                  <c:v>52.935416666666598</c:v>
                </c:pt>
                <c:pt idx="538">
                  <c:v>61.705833333333302</c:v>
                </c:pt>
                <c:pt idx="539">
                  <c:v>63.655416666666603</c:v>
                </c:pt>
                <c:pt idx="540">
                  <c:v>55.837083333333297</c:v>
                </c:pt>
                <c:pt idx="541">
                  <c:v>51.783333333333303</c:v>
                </c:pt>
                <c:pt idx="542">
                  <c:v>51.994999999999997</c:v>
                </c:pt>
                <c:pt idx="543">
                  <c:v>60.637499999999903</c:v>
                </c:pt>
                <c:pt idx="544">
                  <c:v>44.738750000000003</c:v>
                </c:pt>
                <c:pt idx="545">
                  <c:v>59.0162499999999</c:v>
                </c:pt>
                <c:pt idx="546">
                  <c:v>41.709600000000002</c:v>
                </c:pt>
                <c:pt idx="547">
                  <c:v>56.280833333333298</c:v>
                </c:pt>
                <c:pt idx="548">
                  <c:v>35.242249999999999</c:v>
                </c:pt>
                <c:pt idx="549">
                  <c:v>73.400666666666595</c:v>
                </c:pt>
                <c:pt idx="550">
                  <c:v>64.428083333333305</c:v>
                </c:pt>
                <c:pt idx="551">
                  <c:v>75.952249999999907</c:v>
                </c:pt>
                <c:pt idx="552">
                  <c:v>53.532083333333297</c:v>
                </c:pt>
                <c:pt idx="553">
                  <c:v>70.233333333333306</c:v>
                </c:pt>
                <c:pt idx="554">
                  <c:v>43.792499999999997</c:v>
                </c:pt>
                <c:pt idx="555">
                  <c:v>43.967916666666603</c:v>
                </c:pt>
                <c:pt idx="556">
                  <c:v>51.145000000000003</c:v>
                </c:pt>
                <c:pt idx="557">
                  <c:v>44.225833333333298</c:v>
                </c:pt>
                <c:pt idx="558">
                  <c:v>62.532499999999999</c:v>
                </c:pt>
                <c:pt idx="559">
                  <c:v>83.460833333333298</c:v>
                </c:pt>
                <c:pt idx="560">
                  <c:v>58.622916666666598</c:v>
                </c:pt>
                <c:pt idx="561">
                  <c:v>66.830833333333302</c:v>
                </c:pt>
                <c:pt idx="562">
                  <c:v>53.835833333333298</c:v>
                </c:pt>
                <c:pt idx="563">
                  <c:v>68.947500000000005</c:v>
                </c:pt>
                <c:pt idx="564">
                  <c:v>60.918333333333301</c:v>
                </c:pt>
                <c:pt idx="565">
                  <c:v>65.825000000000003</c:v>
                </c:pt>
                <c:pt idx="566">
                  <c:v>45.246666666666599</c:v>
                </c:pt>
                <c:pt idx="567">
                  <c:v>93.789166666666603</c:v>
                </c:pt>
                <c:pt idx="568">
                  <c:v>45.956666666666599</c:v>
                </c:pt>
                <c:pt idx="569">
                  <c:v>71.999166666666596</c:v>
                </c:pt>
                <c:pt idx="570">
                  <c:v>37.198749999999997</c:v>
                </c:pt>
                <c:pt idx="571">
                  <c:v>52.446666666666601</c:v>
                </c:pt>
                <c:pt idx="572">
                  <c:v>42.499166666666603</c:v>
                </c:pt>
                <c:pt idx="573">
                  <c:v>63.807499999999997</c:v>
                </c:pt>
                <c:pt idx="574">
                  <c:v>54.576666666666597</c:v>
                </c:pt>
                <c:pt idx="575">
                  <c:v>55.982500000000002</c:v>
                </c:pt>
                <c:pt idx="576">
                  <c:v>44.299166666666601</c:v>
                </c:pt>
                <c:pt idx="577">
                  <c:v>59.989166666666598</c:v>
                </c:pt>
                <c:pt idx="578">
                  <c:v>51.032916666666601</c:v>
                </c:pt>
                <c:pt idx="579">
                  <c:v>64.219166666666595</c:v>
                </c:pt>
                <c:pt idx="580">
                  <c:v>71.835833333333298</c:v>
                </c:pt>
                <c:pt idx="581">
                  <c:v>76.037499999999994</c:v>
                </c:pt>
                <c:pt idx="582">
                  <c:v>53.73</c:v>
                </c:pt>
                <c:pt idx="583">
                  <c:v>76.707916666666605</c:v>
                </c:pt>
                <c:pt idx="584">
                  <c:v>49.93</c:v>
                </c:pt>
                <c:pt idx="585">
                  <c:v>56.155833333333298</c:v>
                </c:pt>
                <c:pt idx="586">
                  <c:v>49.869166666666601</c:v>
                </c:pt>
                <c:pt idx="587">
                  <c:v>57.069166666666597</c:v>
                </c:pt>
                <c:pt idx="588">
                  <c:v>42.998750000000001</c:v>
                </c:pt>
                <c:pt idx="589">
                  <c:v>50.1279166666666</c:v>
                </c:pt>
                <c:pt idx="590">
                  <c:v>37.558749999999897</c:v>
                </c:pt>
                <c:pt idx="591">
                  <c:v>42.296249999999901</c:v>
                </c:pt>
                <c:pt idx="592">
                  <c:v>47.533333333333303</c:v>
                </c:pt>
                <c:pt idx="593">
                  <c:v>58.02375</c:v>
                </c:pt>
                <c:pt idx="594">
                  <c:v>57.103749999999998</c:v>
                </c:pt>
                <c:pt idx="595">
                  <c:v>68.652083333333294</c:v>
                </c:pt>
                <c:pt idx="596">
                  <c:v>60.049166666666601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0000000002</c:v>
                </c:pt>
                <c:pt idx="600">
                  <c:v>45.507916666666603</c:v>
                </c:pt>
                <c:pt idx="601">
                  <c:v>57.362083333333302</c:v>
                </c:pt>
                <c:pt idx="602">
                  <c:v>65.629166666666606</c:v>
                </c:pt>
                <c:pt idx="603">
                  <c:v>67.625833333333304</c:v>
                </c:pt>
                <c:pt idx="604">
                  <c:v>51.223750000000003</c:v>
                </c:pt>
                <c:pt idx="605">
                  <c:v>69.586666666666602</c:v>
                </c:pt>
                <c:pt idx="606">
                  <c:v>61.611666666666601</c:v>
                </c:pt>
                <c:pt idx="607">
                  <c:v>54.928333333333299</c:v>
                </c:pt>
                <c:pt idx="608">
                  <c:v>54.774374999999999</c:v>
                </c:pt>
                <c:pt idx="609">
                  <c:v>57.5251666666666</c:v>
                </c:pt>
                <c:pt idx="610">
                  <c:v>55.525916666666603</c:v>
                </c:pt>
                <c:pt idx="611">
                  <c:v>93.176249999999996</c:v>
                </c:pt>
                <c:pt idx="612">
                  <c:v>73.739249999999998</c:v>
                </c:pt>
                <c:pt idx="613">
                  <c:v>67.371416666666605</c:v>
                </c:pt>
                <c:pt idx="614">
                  <c:v>54.024583333333297</c:v>
                </c:pt>
                <c:pt idx="615">
                  <c:v>56.475000000000001</c:v>
                </c:pt>
                <c:pt idx="616">
                  <c:v>50.376666666666601</c:v>
                </c:pt>
                <c:pt idx="617">
                  <c:v>41.915833333333303</c:v>
                </c:pt>
                <c:pt idx="618">
                  <c:v>42.007083333333298</c:v>
                </c:pt>
                <c:pt idx="619">
                  <c:v>48.264583333333299</c:v>
                </c:pt>
                <c:pt idx="620">
                  <c:v>57.581666666666599</c:v>
                </c:pt>
                <c:pt idx="621">
                  <c:v>81.2558333333333</c:v>
                </c:pt>
                <c:pt idx="622">
                  <c:v>50.509583333333303</c:v>
                </c:pt>
                <c:pt idx="623">
                  <c:v>61.915833333333303</c:v>
                </c:pt>
                <c:pt idx="624">
                  <c:v>44.452083333333299</c:v>
                </c:pt>
                <c:pt idx="625">
                  <c:v>66.273333333333298</c:v>
                </c:pt>
                <c:pt idx="626">
                  <c:v>56.90625</c:v>
                </c:pt>
                <c:pt idx="627">
                  <c:v>65.317499999999995</c:v>
                </c:pt>
                <c:pt idx="628">
                  <c:v>63.1516666666666</c:v>
                </c:pt>
                <c:pt idx="629">
                  <c:v>78.025416666666601</c:v>
                </c:pt>
                <c:pt idx="630">
                  <c:v>50.135833333333302</c:v>
                </c:pt>
                <c:pt idx="631">
                  <c:v>74.454583333333304</c:v>
                </c:pt>
                <c:pt idx="632">
                  <c:v>47.600416666666597</c:v>
                </c:pt>
                <c:pt idx="633">
                  <c:v>54.03875</c:v>
                </c:pt>
                <c:pt idx="634">
                  <c:v>53.240416666666597</c:v>
                </c:pt>
                <c:pt idx="635">
                  <c:v>79.754583333333301</c:v>
                </c:pt>
                <c:pt idx="636">
                  <c:v>46.871249999999897</c:v>
                </c:pt>
                <c:pt idx="637">
                  <c:v>73.267499999999998</c:v>
                </c:pt>
                <c:pt idx="638">
                  <c:v>49.975000000000001</c:v>
                </c:pt>
                <c:pt idx="639">
                  <c:v>77.7662499999999</c:v>
                </c:pt>
                <c:pt idx="640">
                  <c:v>56.203749999999999</c:v>
                </c:pt>
                <c:pt idx="641">
                  <c:v>74.744583333333296</c:v>
                </c:pt>
                <c:pt idx="642">
                  <c:v>55.783749999999998</c:v>
                </c:pt>
                <c:pt idx="643">
                  <c:v>48.494583333333303</c:v>
                </c:pt>
                <c:pt idx="644">
                  <c:v>33.299444444444397</c:v>
                </c:pt>
                <c:pt idx="645">
                  <c:v>40.534999999999997</c:v>
                </c:pt>
                <c:pt idx="646">
                  <c:v>33.344999999999999</c:v>
                </c:pt>
                <c:pt idx="647">
                  <c:v>44.9583333333333</c:v>
                </c:pt>
                <c:pt idx="648">
                  <c:v>38.847499999999997</c:v>
                </c:pt>
                <c:pt idx="649">
                  <c:v>56.487916666666599</c:v>
                </c:pt>
                <c:pt idx="650">
                  <c:v>44.548749999999998</c:v>
                </c:pt>
                <c:pt idx="651">
                  <c:v>54.977916666666601</c:v>
                </c:pt>
                <c:pt idx="652">
                  <c:v>36.4375</c:v>
                </c:pt>
                <c:pt idx="653">
                  <c:v>56.418749999999903</c:v>
                </c:pt>
                <c:pt idx="654">
                  <c:v>54.088333333333303</c:v>
                </c:pt>
                <c:pt idx="655">
                  <c:v>46.512499999999903</c:v>
                </c:pt>
                <c:pt idx="656">
                  <c:v>45.996666666666599</c:v>
                </c:pt>
                <c:pt idx="657">
                  <c:v>48.314090909090901</c:v>
                </c:pt>
                <c:pt idx="658">
                  <c:v>44.322857142857103</c:v>
                </c:pt>
                <c:pt idx="659">
                  <c:v>39.004999999999903</c:v>
                </c:pt>
                <c:pt idx="660">
                  <c:v>32.433888888888802</c:v>
                </c:pt>
                <c:pt idx="661">
                  <c:v>54.317083333333301</c:v>
                </c:pt>
                <c:pt idx="662">
                  <c:v>54.115416666666597</c:v>
                </c:pt>
                <c:pt idx="663">
                  <c:v>55.441666666666599</c:v>
                </c:pt>
                <c:pt idx="664">
                  <c:v>55.433749999999897</c:v>
                </c:pt>
                <c:pt idx="665">
                  <c:v>42.220833333333303</c:v>
                </c:pt>
                <c:pt idx="666">
                  <c:v>39.741249999999901</c:v>
                </c:pt>
                <c:pt idx="667">
                  <c:v>47.627499999999998</c:v>
                </c:pt>
                <c:pt idx="668">
                  <c:v>51.697249999999997</c:v>
                </c:pt>
                <c:pt idx="669">
                  <c:v>91.086749999999995</c:v>
                </c:pt>
                <c:pt idx="670">
                  <c:v>108.491333333333</c:v>
                </c:pt>
                <c:pt idx="671">
                  <c:v>103.15049999999999</c:v>
                </c:pt>
                <c:pt idx="672">
                  <c:v>44.554499999999997</c:v>
                </c:pt>
                <c:pt idx="673">
                  <c:v>56.459166666666597</c:v>
                </c:pt>
                <c:pt idx="674">
                  <c:v>45.986249999999998</c:v>
                </c:pt>
                <c:pt idx="675">
                  <c:v>45.425833333333301</c:v>
                </c:pt>
                <c:pt idx="676">
                  <c:v>39.856999999999999</c:v>
                </c:pt>
                <c:pt idx="677">
                  <c:v>42.868636363636298</c:v>
                </c:pt>
                <c:pt idx="678">
                  <c:v>37.848499999999902</c:v>
                </c:pt>
                <c:pt idx="679">
                  <c:v>47.806249999999999</c:v>
                </c:pt>
                <c:pt idx="680">
                  <c:v>60.922083333333298</c:v>
                </c:pt>
                <c:pt idx="681">
                  <c:v>62.5266666666666</c:v>
                </c:pt>
                <c:pt idx="682">
                  <c:v>80.026249999999905</c:v>
                </c:pt>
                <c:pt idx="683">
                  <c:v>93.381249999999994</c:v>
                </c:pt>
                <c:pt idx="684">
                  <c:v>52.632916666666603</c:v>
                </c:pt>
                <c:pt idx="685">
                  <c:v>66.297916666666595</c:v>
                </c:pt>
                <c:pt idx="686">
                  <c:v>41.935833333333299</c:v>
                </c:pt>
                <c:pt idx="687">
                  <c:v>47.556666666666601</c:v>
                </c:pt>
                <c:pt idx="688">
                  <c:v>51.536249999999903</c:v>
                </c:pt>
                <c:pt idx="689">
                  <c:v>58.006666666666597</c:v>
                </c:pt>
                <c:pt idx="690">
                  <c:v>55.424583333333302</c:v>
                </c:pt>
                <c:pt idx="691">
                  <c:v>69.689583333333303</c:v>
                </c:pt>
                <c:pt idx="692">
                  <c:v>56.573333333333302</c:v>
                </c:pt>
                <c:pt idx="693">
                  <c:v>89.414583333333297</c:v>
                </c:pt>
                <c:pt idx="694">
                  <c:v>65.425416666666607</c:v>
                </c:pt>
                <c:pt idx="695">
                  <c:v>79.218333333333305</c:v>
                </c:pt>
                <c:pt idx="696">
                  <c:v>61.090416666666599</c:v>
                </c:pt>
                <c:pt idx="697">
                  <c:v>82.684583333333293</c:v>
                </c:pt>
                <c:pt idx="698">
                  <c:v>58.484583333333298</c:v>
                </c:pt>
                <c:pt idx="699">
                  <c:v>88.352916666666601</c:v>
                </c:pt>
                <c:pt idx="700">
                  <c:v>68.344166666666595</c:v>
                </c:pt>
                <c:pt idx="701">
                  <c:v>54.754999999999903</c:v>
                </c:pt>
                <c:pt idx="702">
                  <c:v>57.566249999999897</c:v>
                </c:pt>
                <c:pt idx="703">
                  <c:v>53.733750000000001</c:v>
                </c:pt>
                <c:pt idx="704">
                  <c:v>59.697083333333303</c:v>
                </c:pt>
                <c:pt idx="705">
                  <c:v>51.734583333333298</c:v>
                </c:pt>
                <c:pt idx="706">
                  <c:v>38.423333333333296</c:v>
                </c:pt>
                <c:pt idx="707">
                  <c:v>44.949583333333301</c:v>
                </c:pt>
                <c:pt idx="708">
                  <c:v>44.59</c:v>
                </c:pt>
                <c:pt idx="709">
                  <c:v>48.774999999999999</c:v>
                </c:pt>
                <c:pt idx="710">
                  <c:v>46.790833333333303</c:v>
                </c:pt>
                <c:pt idx="711">
                  <c:v>56.972916666666599</c:v>
                </c:pt>
                <c:pt idx="712">
                  <c:v>46.969583333333297</c:v>
                </c:pt>
                <c:pt idx="713">
                  <c:v>48.4270833333333</c:v>
                </c:pt>
                <c:pt idx="714">
                  <c:v>42.350833333333298</c:v>
                </c:pt>
                <c:pt idx="715">
                  <c:v>40.680833333333297</c:v>
                </c:pt>
                <c:pt idx="716">
                  <c:v>37.1666666666666</c:v>
                </c:pt>
                <c:pt idx="717">
                  <c:v>38.960833333333298</c:v>
                </c:pt>
                <c:pt idx="718">
                  <c:v>40.265416666666603</c:v>
                </c:pt>
                <c:pt idx="719">
                  <c:v>42.8674999999999</c:v>
                </c:pt>
                <c:pt idx="720">
                  <c:v>49.396249999999903</c:v>
                </c:pt>
                <c:pt idx="721">
                  <c:v>41.455833333333302</c:v>
                </c:pt>
                <c:pt idx="722">
                  <c:v>33.367727272727201</c:v>
                </c:pt>
                <c:pt idx="723">
                  <c:v>43.60125</c:v>
                </c:pt>
                <c:pt idx="724">
                  <c:v>45.102083333333297</c:v>
                </c:pt>
                <c:pt idx="725">
                  <c:v>48.505416666666598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299</c:v>
                </c:pt>
                <c:pt idx="729">
                  <c:v>42.499583333333298</c:v>
                </c:pt>
                <c:pt idx="730">
                  <c:v>108.18749999999901</c:v>
                </c:pt>
                <c:pt idx="731">
                  <c:v>111.245</c:v>
                </c:pt>
                <c:pt idx="732">
                  <c:v>110.51333333333299</c:v>
                </c:pt>
                <c:pt idx="733">
                  <c:v>109.41500000000001</c:v>
                </c:pt>
                <c:pt idx="734">
                  <c:v>109.898333333333</c:v>
                </c:pt>
                <c:pt idx="735">
                  <c:v>111.870833333333</c:v>
                </c:pt>
                <c:pt idx="736">
                  <c:v>108.64100000000001</c:v>
                </c:pt>
                <c:pt idx="737">
                  <c:v>112.47499999999999</c:v>
                </c:pt>
                <c:pt idx="738">
                  <c:v>111.09333333333301</c:v>
                </c:pt>
                <c:pt idx="739">
                  <c:v>111.433636363636</c:v>
                </c:pt>
                <c:pt idx="740">
                  <c:v>110.70699999999999</c:v>
                </c:pt>
                <c:pt idx="741">
                  <c:v>108.410833333333</c:v>
                </c:pt>
                <c:pt idx="742">
                  <c:v>110.37583333333301</c:v>
                </c:pt>
                <c:pt idx="743">
                  <c:v>110.207499999999</c:v>
                </c:pt>
                <c:pt idx="744">
                  <c:v>111.74</c:v>
                </c:pt>
                <c:pt idx="745">
                  <c:v>111.213333333333</c:v>
                </c:pt>
                <c:pt idx="746">
                  <c:v>108.96833333333301</c:v>
                </c:pt>
                <c:pt idx="747">
                  <c:v>109.2625</c:v>
                </c:pt>
                <c:pt idx="748">
                  <c:v>110.199</c:v>
                </c:pt>
                <c:pt idx="749">
                  <c:v>111.273333333333</c:v>
                </c:pt>
                <c:pt idx="750">
                  <c:v>109.4875</c:v>
                </c:pt>
                <c:pt idx="751">
                  <c:v>110.505</c:v>
                </c:pt>
                <c:pt idx="752">
                  <c:v>109.098333333333</c:v>
                </c:pt>
                <c:pt idx="753">
                  <c:v>110.826666666666</c:v>
                </c:pt>
                <c:pt idx="754">
                  <c:v>111.049166666666</c:v>
                </c:pt>
                <c:pt idx="755">
                  <c:v>109.829166666666</c:v>
                </c:pt>
                <c:pt idx="756">
                  <c:v>110.7</c:v>
                </c:pt>
                <c:pt idx="757">
                  <c:v>109.087499999999</c:v>
                </c:pt>
                <c:pt idx="758">
                  <c:v>109.721666666666</c:v>
                </c:pt>
                <c:pt idx="759">
                  <c:v>111.22666666666601</c:v>
                </c:pt>
                <c:pt idx="760">
                  <c:v>112.73</c:v>
                </c:pt>
                <c:pt idx="761">
                  <c:v>111.52500000000001</c:v>
                </c:pt>
                <c:pt idx="762">
                  <c:v>110.448333333333</c:v>
                </c:pt>
                <c:pt idx="763">
                  <c:v>109.19416666666601</c:v>
                </c:pt>
                <c:pt idx="764">
                  <c:v>112.33750000000001</c:v>
                </c:pt>
                <c:pt idx="765">
                  <c:v>109.47499999999999</c:v>
                </c:pt>
                <c:pt idx="766">
                  <c:v>109.98857142857101</c:v>
                </c:pt>
                <c:pt idx="767">
                  <c:v>110.447499999999</c:v>
                </c:pt>
                <c:pt idx="768">
                  <c:v>109.126666666666</c:v>
                </c:pt>
                <c:pt idx="769">
                  <c:v>111.745833333333</c:v>
                </c:pt>
                <c:pt idx="770">
                  <c:v>110.930833333333</c:v>
                </c:pt>
                <c:pt idx="771">
                  <c:v>110.345833333333</c:v>
                </c:pt>
                <c:pt idx="772">
                  <c:v>110.689999999999</c:v>
                </c:pt>
                <c:pt idx="773">
                  <c:v>111.839166666666</c:v>
                </c:pt>
                <c:pt idx="774">
                  <c:v>111.34083333333299</c:v>
                </c:pt>
                <c:pt idx="775">
                  <c:v>111.143333333333</c:v>
                </c:pt>
                <c:pt idx="776">
                  <c:v>110.728181818181</c:v>
                </c:pt>
                <c:pt idx="777">
                  <c:v>110.1</c:v>
                </c:pt>
                <c:pt idx="778">
                  <c:v>111.549166666666</c:v>
                </c:pt>
                <c:pt idx="779">
                  <c:v>110.77</c:v>
                </c:pt>
                <c:pt idx="780">
                  <c:v>109.4325</c:v>
                </c:pt>
                <c:pt idx="781">
                  <c:v>110.096666666666</c:v>
                </c:pt>
                <c:pt idx="782">
                  <c:v>110.041666666666</c:v>
                </c:pt>
                <c:pt idx="783">
                  <c:v>111.23916666666599</c:v>
                </c:pt>
                <c:pt idx="784">
                  <c:v>110.66</c:v>
                </c:pt>
                <c:pt idx="785">
                  <c:v>110.686666666666</c:v>
                </c:pt>
                <c:pt idx="786">
                  <c:v>110.626666666666</c:v>
                </c:pt>
                <c:pt idx="787">
                  <c:v>111.21833333333301</c:v>
                </c:pt>
                <c:pt idx="788">
                  <c:v>110.458333333333</c:v>
                </c:pt>
                <c:pt idx="789">
                  <c:v>109.5825</c:v>
                </c:pt>
                <c:pt idx="790">
                  <c:v>110.05416666666601</c:v>
                </c:pt>
                <c:pt idx="791">
                  <c:v>110.781666666666</c:v>
                </c:pt>
                <c:pt idx="792">
                  <c:v>112.41</c:v>
                </c:pt>
                <c:pt idx="793">
                  <c:v>110.198333333333</c:v>
                </c:pt>
                <c:pt idx="794">
                  <c:v>110.21749999999901</c:v>
                </c:pt>
                <c:pt idx="795">
                  <c:v>110.13</c:v>
                </c:pt>
                <c:pt idx="796">
                  <c:v>109.869999999999</c:v>
                </c:pt>
                <c:pt idx="797">
                  <c:v>110.466666666666</c:v>
                </c:pt>
                <c:pt idx="798">
                  <c:v>110.5425</c:v>
                </c:pt>
                <c:pt idx="799">
                  <c:v>110.20083333333299</c:v>
                </c:pt>
                <c:pt idx="800">
                  <c:v>111.087499999999</c:v>
                </c:pt>
                <c:pt idx="801">
                  <c:v>111.925833333333</c:v>
                </c:pt>
                <c:pt idx="802">
                  <c:v>112.255</c:v>
                </c:pt>
                <c:pt idx="803">
                  <c:v>109.486666666666</c:v>
                </c:pt>
                <c:pt idx="804">
                  <c:v>109.698333333333</c:v>
                </c:pt>
                <c:pt idx="805">
                  <c:v>111.64666666666599</c:v>
                </c:pt>
                <c:pt idx="806">
                  <c:v>111.567777777777</c:v>
                </c:pt>
                <c:pt idx="807">
                  <c:v>109.755833333333</c:v>
                </c:pt>
                <c:pt idx="808">
                  <c:v>109.17090909090901</c:v>
                </c:pt>
                <c:pt idx="809">
                  <c:v>111.13249999999999</c:v>
                </c:pt>
                <c:pt idx="810">
                  <c:v>109.654166666666</c:v>
                </c:pt>
                <c:pt idx="811">
                  <c:v>109.68</c:v>
                </c:pt>
                <c:pt idx="812">
                  <c:v>110.40583333333301</c:v>
                </c:pt>
                <c:pt idx="813">
                  <c:v>112.82250000000001</c:v>
                </c:pt>
                <c:pt idx="814">
                  <c:v>110.1425</c:v>
                </c:pt>
                <c:pt idx="815">
                  <c:v>109.690833333333</c:v>
                </c:pt>
                <c:pt idx="816">
                  <c:v>109.82583333333299</c:v>
                </c:pt>
                <c:pt idx="817">
                  <c:v>111.9975</c:v>
                </c:pt>
                <c:pt idx="818">
                  <c:v>111.880833333333</c:v>
                </c:pt>
                <c:pt idx="819">
                  <c:v>112.26333333333299</c:v>
                </c:pt>
                <c:pt idx="820">
                  <c:v>110.1575</c:v>
                </c:pt>
                <c:pt idx="821">
                  <c:v>111.238333333333</c:v>
                </c:pt>
                <c:pt idx="822">
                  <c:v>110.713333333333</c:v>
                </c:pt>
                <c:pt idx="823">
                  <c:v>109.839166666666</c:v>
                </c:pt>
                <c:pt idx="824">
                  <c:v>111.431666666666</c:v>
                </c:pt>
                <c:pt idx="825">
                  <c:v>111.12583333333301</c:v>
                </c:pt>
                <c:pt idx="826">
                  <c:v>111.320999999999</c:v>
                </c:pt>
                <c:pt idx="827">
                  <c:v>111.66500000000001</c:v>
                </c:pt>
                <c:pt idx="828">
                  <c:v>111.086249999999</c:v>
                </c:pt>
                <c:pt idx="829">
                  <c:v>110.28916666666601</c:v>
                </c:pt>
                <c:pt idx="830">
                  <c:v>111.447499999999</c:v>
                </c:pt>
                <c:pt idx="831">
                  <c:v>111.65249999999899</c:v>
                </c:pt>
                <c:pt idx="832">
                  <c:v>110.511666666666</c:v>
                </c:pt>
                <c:pt idx="833">
                  <c:v>111.26</c:v>
                </c:pt>
                <c:pt idx="834">
                  <c:v>108.296666666666</c:v>
                </c:pt>
                <c:pt idx="835">
                  <c:v>110.400833333333</c:v>
                </c:pt>
                <c:pt idx="836">
                  <c:v>109.86499999999999</c:v>
                </c:pt>
                <c:pt idx="837">
                  <c:v>110.74250000000001</c:v>
                </c:pt>
                <c:pt idx="838">
                  <c:v>110.730833333333</c:v>
                </c:pt>
                <c:pt idx="839">
                  <c:v>108.71583333333299</c:v>
                </c:pt>
                <c:pt idx="840">
                  <c:v>109.44750000000001</c:v>
                </c:pt>
                <c:pt idx="841">
                  <c:v>111.644999999999</c:v>
                </c:pt>
                <c:pt idx="842">
                  <c:v>111.01499999999901</c:v>
                </c:pt>
                <c:pt idx="843">
                  <c:v>110.439166666666</c:v>
                </c:pt>
                <c:pt idx="844">
                  <c:v>109.7925</c:v>
                </c:pt>
                <c:pt idx="845">
                  <c:v>110.529166666666</c:v>
                </c:pt>
                <c:pt idx="846">
                  <c:v>110.634166666666</c:v>
                </c:pt>
                <c:pt idx="847">
                  <c:v>109.00416666666599</c:v>
                </c:pt>
                <c:pt idx="848">
                  <c:v>110.425</c:v>
                </c:pt>
                <c:pt idx="849">
                  <c:v>110.660833333333</c:v>
                </c:pt>
                <c:pt idx="850">
                  <c:v>110.2175</c:v>
                </c:pt>
                <c:pt idx="851">
                  <c:v>109.52249999999999</c:v>
                </c:pt>
                <c:pt idx="852">
                  <c:v>111.56</c:v>
                </c:pt>
                <c:pt idx="853">
                  <c:v>108.58</c:v>
                </c:pt>
                <c:pt idx="854">
                  <c:v>110.815833333333</c:v>
                </c:pt>
                <c:pt idx="855">
                  <c:v>110.408333333333</c:v>
                </c:pt>
                <c:pt idx="856">
                  <c:v>111.223333333333</c:v>
                </c:pt>
                <c:pt idx="857">
                  <c:v>109.50083333333301</c:v>
                </c:pt>
                <c:pt idx="858">
                  <c:v>111.568888888888</c:v>
                </c:pt>
                <c:pt idx="859">
                  <c:v>109.425</c:v>
                </c:pt>
                <c:pt idx="860">
                  <c:v>110.59399999999999</c:v>
                </c:pt>
                <c:pt idx="861">
                  <c:v>111.001666666666</c:v>
                </c:pt>
                <c:pt idx="862">
                  <c:v>110.672222222222</c:v>
                </c:pt>
                <c:pt idx="863">
                  <c:v>110.75083333333301</c:v>
                </c:pt>
                <c:pt idx="864">
                  <c:v>109.534545454545</c:v>
                </c:pt>
                <c:pt idx="865">
                  <c:v>111.82583333333299</c:v>
                </c:pt>
                <c:pt idx="866">
                  <c:v>109.93749999999901</c:v>
                </c:pt>
                <c:pt idx="867">
                  <c:v>110.033333333333</c:v>
                </c:pt>
                <c:pt idx="868">
                  <c:v>110.322499999999</c:v>
                </c:pt>
                <c:pt idx="869">
                  <c:v>112.010833333333</c:v>
                </c:pt>
                <c:pt idx="870">
                  <c:v>111.680833333333</c:v>
                </c:pt>
                <c:pt idx="871">
                  <c:v>110.705833333333</c:v>
                </c:pt>
                <c:pt idx="872">
                  <c:v>109.649999999999</c:v>
                </c:pt>
                <c:pt idx="873">
                  <c:v>110.38</c:v>
                </c:pt>
                <c:pt idx="874">
                  <c:v>112.07250000000001</c:v>
                </c:pt>
                <c:pt idx="875">
                  <c:v>110.425454545454</c:v>
                </c:pt>
                <c:pt idx="876">
                  <c:v>107.849</c:v>
                </c:pt>
                <c:pt idx="877">
                  <c:v>109.603333333333</c:v>
                </c:pt>
                <c:pt idx="878">
                  <c:v>110.65714285714201</c:v>
                </c:pt>
                <c:pt idx="879">
                  <c:v>110.18583333333299</c:v>
                </c:pt>
                <c:pt idx="880">
                  <c:v>108.954999999999</c:v>
                </c:pt>
                <c:pt idx="881">
                  <c:v>111.346666666666</c:v>
                </c:pt>
                <c:pt idx="882">
                  <c:v>109.24166666666601</c:v>
                </c:pt>
                <c:pt idx="883">
                  <c:v>110.784166666666</c:v>
                </c:pt>
                <c:pt idx="884">
                  <c:v>110.38166666666601</c:v>
                </c:pt>
                <c:pt idx="885">
                  <c:v>110.847499999999</c:v>
                </c:pt>
                <c:pt idx="886">
                  <c:v>110.451666666666</c:v>
                </c:pt>
                <c:pt idx="887">
                  <c:v>110.620833333333</c:v>
                </c:pt>
                <c:pt idx="888">
                  <c:v>110.66181818181801</c:v>
                </c:pt>
                <c:pt idx="889">
                  <c:v>109.99166666666601</c:v>
                </c:pt>
                <c:pt idx="890">
                  <c:v>111.17444444444401</c:v>
                </c:pt>
                <c:pt idx="891">
                  <c:v>111.35250000000001</c:v>
                </c:pt>
                <c:pt idx="892">
                  <c:v>111.416249999999</c:v>
                </c:pt>
                <c:pt idx="893">
                  <c:v>112.17400000000001</c:v>
                </c:pt>
                <c:pt idx="894">
                  <c:v>109.81</c:v>
                </c:pt>
                <c:pt idx="895">
                  <c:v>108.751818181818</c:v>
                </c:pt>
                <c:pt idx="896">
                  <c:v>112.31874999999999</c:v>
                </c:pt>
                <c:pt idx="897">
                  <c:v>110.475833333333</c:v>
                </c:pt>
                <c:pt idx="898">
                  <c:v>110.97571428571401</c:v>
                </c:pt>
                <c:pt idx="899">
                  <c:v>109.71583333333299</c:v>
                </c:pt>
                <c:pt idx="900">
                  <c:v>111.19416666666601</c:v>
                </c:pt>
                <c:pt idx="901">
                  <c:v>111.43833333333301</c:v>
                </c:pt>
                <c:pt idx="902">
                  <c:v>111.075555555555</c:v>
                </c:pt>
                <c:pt idx="903">
                  <c:v>111.92333333333301</c:v>
                </c:pt>
                <c:pt idx="904">
                  <c:v>109.86</c:v>
                </c:pt>
                <c:pt idx="905">
                  <c:v>111.73111111111101</c:v>
                </c:pt>
                <c:pt idx="906">
                  <c:v>109.65</c:v>
                </c:pt>
                <c:pt idx="907">
                  <c:v>109.64444444444401</c:v>
                </c:pt>
                <c:pt idx="908">
                  <c:v>113.766666666666</c:v>
                </c:pt>
                <c:pt idx="909">
                  <c:v>109.075</c:v>
                </c:pt>
                <c:pt idx="910">
                  <c:v>94.158333333333303</c:v>
                </c:pt>
                <c:pt idx="911">
                  <c:v>95.01</c:v>
                </c:pt>
                <c:pt idx="912">
                  <c:v>97.0042857142857</c:v>
                </c:pt>
                <c:pt idx="913">
                  <c:v>91.094999999999999</c:v>
                </c:pt>
                <c:pt idx="914">
                  <c:v>93.653333333333293</c:v>
                </c:pt>
                <c:pt idx="915">
                  <c:v>93.149999999999906</c:v>
                </c:pt>
                <c:pt idx="916">
                  <c:v>91.319166666666604</c:v>
                </c:pt>
                <c:pt idx="917">
                  <c:v>92.242499999999893</c:v>
                </c:pt>
                <c:pt idx="918">
                  <c:v>94.639999999999901</c:v>
                </c:pt>
                <c:pt idx="919">
                  <c:v>93.194166666666604</c:v>
                </c:pt>
                <c:pt idx="920">
                  <c:v>93.35</c:v>
                </c:pt>
                <c:pt idx="921">
                  <c:v>90.462500000000006</c:v>
                </c:pt>
                <c:pt idx="922">
                  <c:v>98.07</c:v>
                </c:pt>
                <c:pt idx="923">
                  <c:v>92.285833333333301</c:v>
                </c:pt>
                <c:pt idx="924">
                  <c:v>95.527499999999904</c:v>
                </c:pt>
                <c:pt idx="925">
                  <c:v>94.653333333333293</c:v>
                </c:pt>
                <c:pt idx="926">
                  <c:v>90.486666666666594</c:v>
                </c:pt>
                <c:pt idx="927">
                  <c:v>93.8391666666666</c:v>
                </c:pt>
                <c:pt idx="928">
                  <c:v>94.469166666666595</c:v>
                </c:pt>
                <c:pt idx="929">
                  <c:v>93.632499999999993</c:v>
                </c:pt>
                <c:pt idx="930">
                  <c:v>95.8958333333333</c:v>
                </c:pt>
                <c:pt idx="931">
                  <c:v>91.8391666666666</c:v>
                </c:pt>
                <c:pt idx="932">
                  <c:v>93.137499999999903</c:v>
                </c:pt>
                <c:pt idx="933">
                  <c:v>94.092500000000001</c:v>
                </c:pt>
                <c:pt idx="934">
                  <c:v>92.850833333333298</c:v>
                </c:pt>
                <c:pt idx="935">
                  <c:v>95.744166666666601</c:v>
                </c:pt>
                <c:pt idx="936">
                  <c:v>92.740833333333299</c:v>
                </c:pt>
                <c:pt idx="937">
                  <c:v>90.087500000000006</c:v>
                </c:pt>
                <c:pt idx="938">
                  <c:v>92.152499999999904</c:v>
                </c:pt>
                <c:pt idx="939">
                  <c:v>95.6875</c:v>
                </c:pt>
                <c:pt idx="940">
                  <c:v>91.192499999999995</c:v>
                </c:pt>
                <c:pt idx="941">
                  <c:v>93.9166666666666</c:v>
                </c:pt>
                <c:pt idx="942">
                  <c:v>90.254166666666606</c:v>
                </c:pt>
                <c:pt idx="943">
                  <c:v>93.100833333333298</c:v>
                </c:pt>
                <c:pt idx="944">
                  <c:v>96.163333333333298</c:v>
                </c:pt>
                <c:pt idx="945">
                  <c:v>92.972499999999997</c:v>
                </c:pt>
                <c:pt idx="946">
                  <c:v>88.909999999999897</c:v>
                </c:pt>
                <c:pt idx="947">
                  <c:v>93.142499999999899</c:v>
                </c:pt>
                <c:pt idx="948">
                  <c:v>93.240833333333299</c:v>
                </c:pt>
                <c:pt idx="949">
                  <c:v>91.870833333333294</c:v>
                </c:pt>
                <c:pt idx="950">
                  <c:v>92.873333333333306</c:v>
                </c:pt>
                <c:pt idx="951">
                  <c:v>88.707499999999996</c:v>
                </c:pt>
                <c:pt idx="952">
                  <c:v>92.928333333333299</c:v>
                </c:pt>
                <c:pt idx="953">
                  <c:v>94.216666666666598</c:v>
                </c:pt>
                <c:pt idx="954">
                  <c:v>90.968333333333305</c:v>
                </c:pt>
                <c:pt idx="955">
                  <c:v>93.7708333333333</c:v>
                </c:pt>
                <c:pt idx="956">
                  <c:v>97.500833333333304</c:v>
                </c:pt>
                <c:pt idx="957">
                  <c:v>95.994166666666601</c:v>
                </c:pt>
                <c:pt idx="958">
                  <c:v>92.954166666666595</c:v>
                </c:pt>
                <c:pt idx="959">
                  <c:v>93.922499999999999</c:v>
                </c:pt>
                <c:pt idx="960">
                  <c:v>94.066666666666606</c:v>
                </c:pt>
                <c:pt idx="961">
                  <c:v>91.638333333333307</c:v>
                </c:pt>
                <c:pt idx="962">
                  <c:v>92.293333333333294</c:v>
                </c:pt>
                <c:pt idx="963">
                  <c:v>90.272499999999994</c:v>
                </c:pt>
                <c:pt idx="964">
                  <c:v>96.438333333333304</c:v>
                </c:pt>
                <c:pt idx="965">
                  <c:v>93.667500000000004</c:v>
                </c:pt>
                <c:pt idx="966">
                  <c:v>90.662222222222198</c:v>
                </c:pt>
                <c:pt idx="967">
                  <c:v>93.676666666666605</c:v>
                </c:pt>
                <c:pt idx="968">
                  <c:v>89.397142857142796</c:v>
                </c:pt>
                <c:pt idx="969">
                  <c:v>93.325833333333307</c:v>
                </c:pt>
                <c:pt idx="970">
                  <c:v>95.897499999999994</c:v>
                </c:pt>
                <c:pt idx="971">
                  <c:v>91.956363636363605</c:v>
                </c:pt>
                <c:pt idx="972">
                  <c:v>92.462857142857104</c:v>
                </c:pt>
                <c:pt idx="973">
                  <c:v>95.384999999999906</c:v>
                </c:pt>
                <c:pt idx="974">
                  <c:v>90.847499999999997</c:v>
                </c:pt>
                <c:pt idx="975">
                  <c:v>93.663333333333298</c:v>
                </c:pt>
                <c:pt idx="976">
                  <c:v>90.486666666666594</c:v>
                </c:pt>
                <c:pt idx="977">
                  <c:v>97.206363636363605</c:v>
                </c:pt>
                <c:pt idx="978">
                  <c:v>95.418333333333294</c:v>
                </c:pt>
                <c:pt idx="979">
                  <c:v>96.343333333333305</c:v>
                </c:pt>
                <c:pt idx="980">
                  <c:v>91.496666666666599</c:v>
                </c:pt>
                <c:pt idx="981">
                  <c:v>93.445833333333297</c:v>
                </c:pt>
                <c:pt idx="982">
                  <c:v>98.274999999999906</c:v>
                </c:pt>
                <c:pt idx="983">
                  <c:v>94.355999999999995</c:v>
                </c:pt>
                <c:pt idx="984">
                  <c:v>93.0085714285714</c:v>
                </c:pt>
                <c:pt idx="985">
                  <c:v>94.266666666666595</c:v>
                </c:pt>
                <c:pt idx="986">
                  <c:v>94.058333333333294</c:v>
                </c:pt>
                <c:pt idx="987">
                  <c:v>94.706666666666607</c:v>
                </c:pt>
                <c:pt idx="988">
                  <c:v>92.304999999999893</c:v>
                </c:pt>
                <c:pt idx="989">
                  <c:v>91.306666666666601</c:v>
                </c:pt>
                <c:pt idx="990">
                  <c:v>90.8958333333333</c:v>
                </c:pt>
                <c:pt idx="991">
                  <c:v>92.348333333333301</c:v>
                </c:pt>
                <c:pt idx="992">
                  <c:v>95.63</c:v>
                </c:pt>
                <c:pt idx="993">
                  <c:v>93.398181818181797</c:v>
                </c:pt>
                <c:pt idx="994">
                  <c:v>96.203749999999999</c:v>
                </c:pt>
                <c:pt idx="995">
                  <c:v>94.444166666666604</c:v>
                </c:pt>
                <c:pt idx="996">
                  <c:v>92.017499999999998</c:v>
                </c:pt>
                <c:pt idx="997">
                  <c:v>95.212499999999906</c:v>
                </c:pt>
                <c:pt idx="998">
                  <c:v>95.262222222222206</c:v>
                </c:pt>
                <c:pt idx="999">
                  <c:v>92.738333333333301</c:v>
                </c:pt>
                <c:pt idx="1000">
                  <c:v>96.783749999999998</c:v>
                </c:pt>
                <c:pt idx="1001">
                  <c:v>94.048333333333304</c:v>
                </c:pt>
                <c:pt idx="1002">
                  <c:v>91.727272727272705</c:v>
                </c:pt>
                <c:pt idx="1003">
                  <c:v>92.79</c:v>
                </c:pt>
                <c:pt idx="1004">
                  <c:v>91.99</c:v>
                </c:pt>
                <c:pt idx="1005">
                  <c:v>90.05</c:v>
                </c:pt>
                <c:pt idx="1006">
                  <c:v>93.491666666666603</c:v>
                </c:pt>
                <c:pt idx="1007">
                  <c:v>90.999166666666596</c:v>
                </c:pt>
                <c:pt idx="1008">
                  <c:v>93.266666666666595</c:v>
                </c:pt>
                <c:pt idx="1009">
                  <c:v>91.999166666666596</c:v>
                </c:pt>
                <c:pt idx="1010">
                  <c:v>90.307500000000005</c:v>
                </c:pt>
                <c:pt idx="1011">
                  <c:v>91.424166666666594</c:v>
                </c:pt>
                <c:pt idx="1012">
                  <c:v>92.987499999999997</c:v>
                </c:pt>
                <c:pt idx="1013">
                  <c:v>96.709166666666604</c:v>
                </c:pt>
                <c:pt idx="1014">
                  <c:v>94.152500000000003</c:v>
                </c:pt>
                <c:pt idx="1015">
                  <c:v>94.873333333333306</c:v>
                </c:pt>
                <c:pt idx="1016">
                  <c:v>95.133333333333297</c:v>
                </c:pt>
                <c:pt idx="1017">
                  <c:v>93.0208333333333</c:v>
                </c:pt>
                <c:pt idx="1018">
                  <c:v>96.294285714285706</c:v>
                </c:pt>
                <c:pt idx="1019">
                  <c:v>94.922499999999999</c:v>
                </c:pt>
                <c:pt idx="1020">
                  <c:v>92.642499999999998</c:v>
                </c:pt>
                <c:pt idx="1021">
                  <c:v>93.298333333333304</c:v>
                </c:pt>
                <c:pt idx="1022">
                  <c:v>90.047499999999999</c:v>
                </c:pt>
                <c:pt idx="1023">
                  <c:v>93.348333333333301</c:v>
                </c:pt>
                <c:pt idx="1024">
                  <c:v>91.872500000000002</c:v>
                </c:pt>
                <c:pt idx="1025">
                  <c:v>89.765833333333305</c:v>
                </c:pt>
                <c:pt idx="1026">
                  <c:v>93.4583333333333</c:v>
                </c:pt>
                <c:pt idx="1027">
                  <c:v>91.805833333333297</c:v>
                </c:pt>
                <c:pt idx="1028">
                  <c:v>94.952222222222204</c:v>
                </c:pt>
                <c:pt idx="1029">
                  <c:v>95.894166666666607</c:v>
                </c:pt>
                <c:pt idx="1030">
                  <c:v>90.924999999999997</c:v>
                </c:pt>
                <c:pt idx="1031">
                  <c:v>91.3272727272727</c:v>
                </c:pt>
                <c:pt idx="1032">
                  <c:v>89.527999999999906</c:v>
                </c:pt>
                <c:pt idx="1033">
                  <c:v>95.992499999999893</c:v>
                </c:pt>
                <c:pt idx="1034">
                  <c:v>95.757499999999993</c:v>
                </c:pt>
                <c:pt idx="1035">
                  <c:v>88.090833333333293</c:v>
                </c:pt>
                <c:pt idx="1036">
                  <c:v>91.118888888888804</c:v>
                </c:pt>
                <c:pt idx="1037">
                  <c:v>88.774166666666602</c:v>
                </c:pt>
                <c:pt idx="1038">
                  <c:v>91.893333333333302</c:v>
                </c:pt>
                <c:pt idx="1039">
                  <c:v>91.952500000000001</c:v>
                </c:pt>
                <c:pt idx="1040">
                  <c:v>94.504999999999995</c:v>
                </c:pt>
                <c:pt idx="1041">
                  <c:v>91.514999999999901</c:v>
                </c:pt>
                <c:pt idx="1042">
                  <c:v>92.745000000000005</c:v>
                </c:pt>
                <c:pt idx="1043">
                  <c:v>89.092499999999902</c:v>
                </c:pt>
                <c:pt idx="1044">
                  <c:v>98.242499999999893</c:v>
                </c:pt>
                <c:pt idx="1045">
                  <c:v>93.010833333333295</c:v>
                </c:pt>
                <c:pt idx="1046">
                  <c:v>92.356666666666598</c:v>
                </c:pt>
                <c:pt idx="1047">
                  <c:v>93.078333333333305</c:v>
                </c:pt>
                <c:pt idx="1048">
                  <c:v>92.907499999999899</c:v>
                </c:pt>
                <c:pt idx="1049">
                  <c:v>92.074999999999903</c:v>
                </c:pt>
                <c:pt idx="1050">
                  <c:v>90.574166666666599</c:v>
                </c:pt>
                <c:pt idx="1051">
                  <c:v>91.566666666666606</c:v>
                </c:pt>
                <c:pt idx="1052">
                  <c:v>90.649999999999906</c:v>
                </c:pt>
                <c:pt idx="1053">
                  <c:v>93.179999999999893</c:v>
                </c:pt>
                <c:pt idx="1054">
                  <c:v>92.728999999999999</c:v>
                </c:pt>
                <c:pt idx="1055">
                  <c:v>91.346666666666593</c:v>
                </c:pt>
                <c:pt idx="1056">
                  <c:v>97.366666666666603</c:v>
                </c:pt>
                <c:pt idx="1057">
                  <c:v>90.375833333333304</c:v>
                </c:pt>
                <c:pt idx="1058">
                  <c:v>87.474999999999994</c:v>
                </c:pt>
                <c:pt idx="1059">
                  <c:v>94.589999999999904</c:v>
                </c:pt>
                <c:pt idx="1060">
                  <c:v>92.352500000000006</c:v>
                </c:pt>
                <c:pt idx="1061">
                  <c:v>93.919166666666598</c:v>
                </c:pt>
                <c:pt idx="1062">
                  <c:v>92.703333333333305</c:v>
                </c:pt>
                <c:pt idx="1063">
                  <c:v>89.927499999999995</c:v>
                </c:pt>
                <c:pt idx="1064">
                  <c:v>92.654999999999902</c:v>
                </c:pt>
                <c:pt idx="1065">
                  <c:v>93.805833333333297</c:v>
                </c:pt>
                <c:pt idx="1066">
                  <c:v>91.402500000000003</c:v>
                </c:pt>
                <c:pt idx="1067">
                  <c:v>92.496666666666599</c:v>
                </c:pt>
                <c:pt idx="1068">
                  <c:v>90.926666666666605</c:v>
                </c:pt>
                <c:pt idx="1069">
                  <c:v>95.913333333333298</c:v>
                </c:pt>
                <c:pt idx="1070">
                  <c:v>92.822500000000005</c:v>
                </c:pt>
                <c:pt idx="1071">
                  <c:v>93.805833333333297</c:v>
                </c:pt>
                <c:pt idx="1072">
                  <c:v>96.0555555555555</c:v>
                </c:pt>
                <c:pt idx="1073">
                  <c:v>91.576666666666597</c:v>
                </c:pt>
                <c:pt idx="1074">
                  <c:v>90.302499999999995</c:v>
                </c:pt>
                <c:pt idx="1075">
                  <c:v>93.009166666666601</c:v>
                </c:pt>
                <c:pt idx="1076">
                  <c:v>95.102000000000004</c:v>
                </c:pt>
                <c:pt idx="1077">
                  <c:v>93.831666666666607</c:v>
                </c:pt>
                <c:pt idx="1078">
                  <c:v>92.270909090909001</c:v>
                </c:pt>
                <c:pt idx="1079">
                  <c:v>95.849166666666605</c:v>
                </c:pt>
                <c:pt idx="1080">
                  <c:v>92.894999999999897</c:v>
                </c:pt>
                <c:pt idx="1081">
                  <c:v>97.459166666666604</c:v>
                </c:pt>
                <c:pt idx="1082">
                  <c:v>90.898333333333298</c:v>
                </c:pt>
                <c:pt idx="1083">
                  <c:v>92.4224999999999</c:v>
                </c:pt>
                <c:pt idx="1084">
                  <c:v>96.047499999999999</c:v>
                </c:pt>
                <c:pt idx="1085">
                  <c:v>92.858333333333306</c:v>
                </c:pt>
                <c:pt idx="1086">
                  <c:v>96.7766666666666</c:v>
                </c:pt>
                <c:pt idx="1087">
                  <c:v>93.782499999999999</c:v>
                </c:pt>
                <c:pt idx="1088">
                  <c:v>91.845833333333303</c:v>
                </c:pt>
                <c:pt idx="1089">
                  <c:v>94.476666666666603</c:v>
                </c:pt>
                <c:pt idx="1090">
                  <c:v>95.429999999999893</c:v>
                </c:pt>
                <c:pt idx="1091">
                  <c:v>92.961666666666602</c:v>
                </c:pt>
                <c:pt idx="1092">
                  <c:v>94.661249999999995</c:v>
                </c:pt>
                <c:pt idx="1093">
                  <c:v>91.629166666666606</c:v>
                </c:pt>
                <c:pt idx="1094">
                  <c:v>93.872500000000002</c:v>
                </c:pt>
                <c:pt idx="1095">
                  <c:v>94.749166666666596</c:v>
                </c:pt>
                <c:pt idx="1096">
                  <c:v>94.245000000000005</c:v>
                </c:pt>
                <c:pt idx="1097">
                  <c:v>90.465000000000003</c:v>
                </c:pt>
                <c:pt idx="1098">
                  <c:v>94.051666666666605</c:v>
                </c:pt>
                <c:pt idx="1099">
                  <c:v>94.584166666666604</c:v>
                </c:pt>
                <c:pt idx="1100">
                  <c:v>90.363333333333301</c:v>
                </c:pt>
                <c:pt idx="1101">
                  <c:v>94.014166666666597</c:v>
                </c:pt>
                <c:pt idx="1102">
                  <c:v>91.417500000000004</c:v>
                </c:pt>
                <c:pt idx="1103">
                  <c:v>94.453333333333305</c:v>
                </c:pt>
                <c:pt idx="1104">
                  <c:v>94.170833333333306</c:v>
                </c:pt>
                <c:pt idx="1105">
                  <c:v>93.12</c:v>
                </c:pt>
                <c:pt idx="1106">
                  <c:v>96.348333333333301</c:v>
                </c:pt>
                <c:pt idx="1107">
                  <c:v>92.232500000000002</c:v>
                </c:pt>
                <c:pt idx="1108">
                  <c:v>95.015833333333305</c:v>
                </c:pt>
                <c:pt idx="1109">
                  <c:v>93.649166666666602</c:v>
                </c:pt>
                <c:pt idx="1110">
                  <c:v>93.278333333333293</c:v>
                </c:pt>
                <c:pt idx="1111">
                  <c:v>92.955833333333302</c:v>
                </c:pt>
                <c:pt idx="1112">
                  <c:v>90.924166666666594</c:v>
                </c:pt>
                <c:pt idx="1113">
                  <c:v>92.703333333333305</c:v>
                </c:pt>
                <c:pt idx="1114">
                  <c:v>93.4016666666666</c:v>
                </c:pt>
                <c:pt idx="1115">
                  <c:v>90.633333333333297</c:v>
                </c:pt>
                <c:pt idx="1116">
                  <c:v>92.266666666666595</c:v>
                </c:pt>
                <c:pt idx="1117">
                  <c:v>91.115833333333299</c:v>
                </c:pt>
                <c:pt idx="1118">
                  <c:v>92.415833333333296</c:v>
                </c:pt>
                <c:pt idx="1119">
                  <c:v>94.924166666666594</c:v>
                </c:pt>
                <c:pt idx="1120">
                  <c:v>86.441666666666606</c:v>
                </c:pt>
                <c:pt idx="1121">
                  <c:v>93.585833333333298</c:v>
                </c:pt>
                <c:pt idx="1122">
                  <c:v>91.088333333333296</c:v>
                </c:pt>
                <c:pt idx="1123">
                  <c:v>89.025833333333296</c:v>
                </c:pt>
                <c:pt idx="1124">
                  <c:v>92.524166666666602</c:v>
                </c:pt>
                <c:pt idx="1125">
                  <c:v>90.219166666666595</c:v>
                </c:pt>
                <c:pt idx="1126">
                  <c:v>93.884166666666601</c:v>
                </c:pt>
                <c:pt idx="1127">
                  <c:v>93.745833333333294</c:v>
                </c:pt>
                <c:pt idx="1128">
                  <c:v>95.747499999999903</c:v>
                </c:pt>
                <c:pt idx="1129">
                  <c:v>90.974166666666605</c:v>
                </c:pt>
                <c:pt idx="1130">
                  <c:v>94.1666666666666</c:v>
                </c:pt>
                <c:pt idx="1131">
                  <c:v>96.384166666666601</c:v>
                </c:pt>
                <c:pt idx="1132">
                  <c:v>94.815833333333302</c:v>
                </c:pt>
                <c:pt idx="1133">
                  <c:v>95.547499999999999</c:v>
                </c:pt>
                <c:pt idx="1134">
                  <c:v>90.974999999999895</c:v>
                </c:pt>
                <c:pt idx="1135">
                  <c:v>92.144166666666607</c:v>
                </c:pt>
                <c:pt idx="1136">
                  <c:v>91.504444444444403</c:v>
                </c:pt>
                <c:pt idx="1137">
                  <c:v>94.920833333333306</c:v>
                </c:pt>
                <c:pt idx="1138">
                  <c:v>95.2141666666666</c:v>
                </c:pt>
                <c:pt idx="1139">
                  <c:v>94.086666666666602</c:v>
                </c:pt>
                <c:pt idx="1140">
                  <c:v>92.909999999999897</c:v>
                </c:pt>
                <c:pt idx="1141">
                  <c:v>92.474166666666605</c:v>
                </c:pt>
                <c:pt idx="1142">
                  <c:v>89.757499999999993</c:v>
                </c:pt>
                <c:pt idx="1143">
                  <c:v>93.077499999999901</c:v>
                </c:pt>
                <c:pt idx="1144">
                  <c:v>90.888333333333307</c:v>
                </c:pt>
                <c:pt idx="1145">
                  <c:v>93.18</c:v>
                </c:pt>
                <c:pt idx="1146">
                  <c:v>92.563333333333304</c:v>
                </c:pt>
                <c:pt idx="1147">
                  <c:v>94.260833333333295</c:v>
                </c:pt>
                <c:pt idx="1148">
                  <c:v>88.240833333333299</c:v>
                </c:pt>
                <c:pt idx="1149">
                  <c:v>92.031666666666595</c:v>
                </c:pt>
                <c:pt idx="1150">
                  <c:v>92.867500000000007</c:v>
                </c:pt>
                <c:pt idx="1151">
                  <c:v>91.5416666666666</c:v>
                </c:pt>
                <c:pt idx="1152">
                  <c:v>94.8541666666666</c:v>
                </c:pt>
                <c:pt idx="1153">
                  <c:v>90.887500000000003</c:v>
                </c:pt>
                <c:pt idx="1154">
                  <c:v>92.579166666666595</c:v>
                </c:pt>
                <c:pt idx="1155">
                  <c:v>95.422499999999999</c:v>
                </c:pt>
                <c:pt idx="1156">
                  <c:v>94.640833333333305</c:v>
                </c:pt>
                <c:pt idx="1157">
                  <c:v>94.069166666666604</c:v>
                </c:pt>
                <c:pt idx="1158">
                  <c:v>91.788333333333298</c:v>
                </c:pt>
                <c:pt idx="1159">
                  <c:v>88.107500000000002</c:v>
                </c:pt>
                <c:pt idx="1160">
                  <c:v>92.053333333333299</c:v>
                </c:pt>
                <c:pt idx="1161">
                  <c:v>94.427499999999995</c:v>
                </c:pt>
                <c:pt idx="1162">
                  <c:v>94.785833333333301</c:v>
                </c:pt>
                <c:pt idx="1163">
                  <c:v>92.864999999999995</c:v>
                </c:pt>
                <c:pt idx="1164">
                  <c:v>91.605833333333294</c:v>
                </c:pt>
                <c:pt idx="1165">
                  <c:v>94.448333333333295</c:v>
                </c:pt>
                <c:pt idx="1166">
                  <c:v>89.094999999999899</c:v>
                </c:pt>
                <c:pt idx="1167">
                  <c:v>95.37</c:v>
                </c:pt>
                <c:pt idx="1168">
                  <c:v>92.759166666666601</c:v>
                </c:pt>
                <c:pt idx="1169">
                  <c:v>96.861666666666594</c:v>
                </c:pt>
                <c:pt idx="1170">
                  <c:v>92.893333333333302</c:v>
                </c:pt>
                <c:pt idx="1171">
                  <c:v>91.62</c:v>
                </c:pt>
                <c:pt idx="1172">
                  <c:v>95.988333333333301</c:v>
                </c:pt>
                <c:pt idx="1173">
                  <c:v>94.588333333333296</c:v>
                </c:pt>
                <c:pt idx="1174">
                  <c:v>94.031666666666595</c:v>
                </c:pt>
                <c:pt idx="1175">
                  <c:v>93.4166666666666</c:v>
                </c:pt>
                <c:pt idx="1176">
                  <c:v>91.315833333333302</c:v>
                </c:pt>
                <c:pt idx="1177">
                  <c:v>93.227500000000006</c:v>
                </c:pt>
                <c:pt idx="1178">
                  <c:v>95.254999999999995</c:v>
                </c:pt>
                <c:pt idx="1179">
                  <c:v>95.577500000000001</c:v>
                </c:pt>
                <c:pt idx="1180">
                  <c:v>92.415000000000006</c:v>
                </c:pt>
                <c:pt idx="1181">
                  <c:v>95.493333333333297</c:v>
                </c:pt>
                <c:pt idx="1182">
                  <c:v>94.879166666666606</c:v>
                </c:pt>
                <c:pt idx="1183">
                  <c:v>91.33</c:v>
                </c:pt>
                <c:pt idx="1184">
                  <c:v>92.034999999999997</c:v>
                </c:pt>
                <c:pt idx="1185">
                  <c:v>93.301666666666605</c:v>
                </c:pt>
                <c:pt idx="1186">
                  <c:v>92.251666666666594</c:v>
                </c:pt>
                <c:pt idx="1187">
                  <c:v>93.829166666666595</c:v>
                </c:pt>
                <c:pt idx="1188">
                  <c:v>96.950833333333307</c:v>
                </c:pt>
                <c:pt idx="1189">
                  <c:v>89.111666666666594</c:v>
                </c:pt>
                <c:pt idx="1190">
                  <c:v>93.700833333333307</c:v>
                </c:pt>
                <c:pt idx="1191">
                  <c:v>91.821666666666601</c:v>
                </c:pt>
                <c:pt idx="1192">
                  <c:v>91.176666666666605</c:v>
                </c:pt>
                <c:pt idx="1193">
                  <c:v>93.967499999999902</c:v>
                </c:pt>
                <c:pt idx="1194">
                  <c:v>96.016666666666694</c:v>
                </c:pt>
                <c:pt idx="1195">
                  <c:v>93.3</c:v>
                </c:pt>
                <c:pt idx="1196">
                  <c:v>93.487272727272696</c:v>
                </c:pt>
                <c:pt idx="1197">
                  <c:v>92.534166666666593</c:v>
                </c:pt>
                <c:pt idx="1198">
                  <c:v>90.468333333333305</c:v>
                </c:pt>
                <c:pt idx="1199">
                  <c:v>94.832499999999996</c:v>
                </c:pt>
                <c:pt idx="1200">
                  <c:v>95.144999999999996</c:v>
                </c:pt>
                <c:pt idx="1201">
                  <c:v>93.267499999999998</c:v>
                </c:pt>
                <c:pt idx="1202">
                  <c:v>94.013333333333307</c:v>
                </c:pt>
                <c:pt idx="1203">
                  <c:v>95.63</c:v>
                </c:pt>
                <c:pt idx="1204">
                  <c:v>92.195833333333297</c:v>
                </c:pt>
                <c:pt idx="1205">
                  <c:v>91.516666666666595</c:v>
                </c:pt>
                <c:pt idx="1206">
                  <c:v>94.718333333333305</c:v>
                </c:pt>
                <c:pt idx="1207">
                  <c:v>93.7083333333333</c:v>
                </c:pt>
                <c:pt idx="1208">
                  <c:v>88.927499999999995</c:v>
                </c:pt>
                <c:pt idx="1209">
                  <c:v>92.028333333333293</c:v>
                </c:pt>
                <c:pt idx="1210">
                  <c:v>93.161666666666605</c:v>
                </c:pt>
                <c:pt idx="1211">
                  <c:v>94.2766666666666</c:v>
                </c:pt>
                <c:pt idx="1212">
                  <c:v>89.2083333333333</c:v>
                </c:pt>
                <c:pt idx="1213">
                  <c:v>94.743333333333297</c:v>
                </c:pt>
                <c:pt idx="1214">
                  <c:v>89.875833333333304</c:v>
                </c:pt>
                <c:pt idx="1215">
                  <c:v>90.906666666666595</c:v>
                </c:pt>
                <c:pt idx="1216">
                  <c:v>94.0058333333333</c:v>
                </c:pt>
                <c:pt idx="1217">
                  <c:v>92.414166666666603</c:v>
                </c:pt>
                <c:pt idx="1218">
                  <c:v>92.831666666666607</c:v>
                </c:pt>
                <c:pt idx="1219">
                  <c:v>92.375</c:v>
                </c:pt>
                <c:pt idx="1220">
                  <c:v>89.369166666666601</c:v>
                </c:pt>
                <c:pt idx="1221">
                  <c:v>93.370833333333294</c:v>
                </c:pt>
                <c:pt idx="1222">
                  <c:v>91.319166666666604</c:v>
                </c:pt>
                <c:pt idx="1223">
                  <c:v>91.633333333333297</c:v>
                </c:pt>
                <c:pt idx="1224">
                  <c:v>93.654166666666598</c:v>
                </c:pt>
                <c:pt idx="1225">
                  <c:v>93.094999999999899</c:v>
                </c:pt>
                <c:pt idx="1226">
                  <c:v>93.775000000000006</c:v>
                </c:pt>
                <c:pt idx="1227">
                  <c:v>88.952500000000001</c:v>
                </c:pt>
                <c:pt idx="1228">
                  <c:v>92.994166666666601</c:v>
                </c:pt>
                <c:pt idx="1229">
                  <c:v>97.970833333333303</c:v>
                </c:pt>
                <c:pt idx="1230">
                  <c:v>92.363333333333301</c:v>
                </c:pt>
                <c:pt idx="1231">
                  <c:v>93.679166666666603</c:v>
                </c:pt>
                <c:pt idx="1232">
                  <c:v>92.120833333333294</c:v>
                </c:pt>
                <c:pt idx="1233">
                  <c:v>95.302499999999995</c:v>
                </c:pt>
                <c:pt idx="1234">
                  <c:v>90.0416666666666</c:v>
                </c:pt>
                <c:pt idx="1235">
                  <c:v>92.947499999999906</c:v>
                </c:pt>
                <c:pt idx="1236">
                  <c:v>94.227500000000006</c:v>
                </c:pt>
                <c:pt idx="1237">
                  <c:v>94.241666666666603</c:v>
                </c:pt>
                <c:pt idx="1238">
                  <c:v>91.0266666666666</c:v>
                </c:pt>
                <c:pt idx="1239">
                  <c:v>92.328333333333305</c:v>
                </c:pt>
                <c:pt idx="1240">
                  <c:v>97.080833333333302</c:v>
                </c:pt>
                <c:pt idx="1241">
                  <c:v>93.259999999999906</c:v>
                </c:pt>
                <c:pt idx="1242">
                  <c:v>92.435833333333306</c:v>
                </c:pt>
                <c:pt idx="1243">
                  <c:v>91.976666666666603</c:v>
                </c:pt>
                <c:pt idx="1244">
                  <c:v>92.086666666666602</c:v>
                </c:pt>
                <c:pt idx="1245">
                  <c:v>92.968333333333305</c:v>
                </c:pt>
                <c:pt idx="1246">
                  <c:v>96.536666666666605</c:v>
                </c:pt>
                <c:pt idx="1247">
                  <c:v>94.171666666666596</c:v>
                </c:pt>
                <c:pt idx="1248">
                  <c:v>94.457499999999996</c:v>
                </c:pt>
                <c:pt idx="1249">
                  <c:v>93.327499999999901</c:v>
                </c:pt>
                <c:pt idx="1250">
                  <c:v>96.022499999999994</c:v>
                </c:pt>
                <c:pt idx="1251">
                  <c:v>94.177499999999995</c:v>
                </c:pt>
                <c:pt idx="1252">
                  <c:v>93.3125</c:v>
                </c:pt>
                <c:pt idx="1253">
                  <c:v>92.627499999999998</c:v>
                </c:pt>
                <c:pt idx="1254">
                  <c:v>93.024166666666602</c:v>
                </c:pt>
                <c:pt idx="1255">
                  <c:v>92.092500000000001</c:v>
                </c:pt>
                <c:pt idx="1256">
                  <c:v>92.263333333333307</c:v>
                </c:pt>
                <c:pt idx="1257">
                  <c:v>93.793333333333294</c:v>
                </c:pt>
                <c:pt idx="1258">
                  <c:v>92.381999999999906</c:v>
                </c:pt>
                <c:pt idx="1259">
                  <c:v>92.907499999999999</c:v>
                </c:pt>
                <c:pt idx="1260">
                  <c:v>93.206249999999997</c:v>
                </c:pt>
                <c:pt idx="1261">
                  <c:v>97.012499999999903</c:v>
                </c:pt>
                <c:pt idx="1262">
                  <c:v>89.178333333333299</c:v>
                </c:pt>
                <c:pt idx="1263">
                  <c:v>90.419166666666598</c:v>
                </c:pt>
                <c:pt idx="1264">
                  <c:v>95.5891666666666</c:v>
                </c:pt>
                <c:pt idx="1265">
                  <c:v>97.796666666666596</c:v>
                </c:pt>
                <c:pt idx="1266">
                  <c:v>93.211666666666602</c:v>
                </c:pt>
                <c:pt idx="1267">
                  <c:v>92.63</c:v>
                </c:pt>
                <c:pt idx="1268">
                  <c:v>93.126666666666594</c:v>
                </c:pt>
                <c:pt idx="1269">
                  <c:v>94.182499999999905</c:v>
                </c:pt>
                <c:pt idx="1270">
                  <c:v>92.816666666666606</c:v>
                </c:pt>
                <c:pt idx="1271">
                  <c:v>89.649166666666602</c:v>
                </c:pt>
                <c:pt idx="1272">
                  <c:v>89.694999999999993</c:v>
                </c:pt>
                <c:pt idx="1273">
                  <c:v>90.165000000000006</c:v>
                </c:pt>
                <c:pt idx="1274">
                  <c:v>92.224999999999994</c:v>
                </c:pt>
                <c:pt idx="1275">
                  <c:v>91.504999999999995</c:v>
                </c:pt>
                <c:pt idx="1276">
                  <c:v>95.185833333333306</c:v>
                </c:pt>
                <c:pt idx="1277">
                  <c:v>92.634166666666601</c:v>
                </c:pt>
                <c:pt idx="1278">
                  <c:v>91.8541666666666</c:v>
                </c:pt>
                <c:pt idx="1279">
                  <c:v>88.734166666666596</c:v>
                </c:pt>
                <c:pt idx="1280">
                  <c:v>97.854285714285695</c:v>
                </c:pt>
                <c:pt idx="1281">
                  <c:v>90.266666666666595</c:v>
                </c:pt>
                <c:pt idx="1282">
                  <c:v>93.316666666666606</c:v>
                </c:pt>
                <c:pt idx="1283">
                  <c:v>91.059166666666599</c:v>
                </c:pt>
                <c:pt idx="1284">
                  <c:v>96.3808333333333</c:v>
                </c:pt>
                <c:pt idx="1285">
                  <c:v>94.445833333333297</c:v>
                </c:pt>
                <c:pt idx="1286">
                  <c:v>89.991666666666603</c:v>
                </c:pt>
                <c:pt idx="1287">
                  <c:v>93.043333333333294</c:v>
                </c:pt>
                <c:pt idx="1288">
                  <c:v>92.8</c:v>
                </c:pt>
                <c:pt idx="1289">
                  <c:v>92.62</c:v>
                </c:pt>
                <c:pt idx="1290">
                  <c:v>89.626666666666594</c:v>
                </c:pt>
                <c:pt idx="1291">
                  <c:v>96.4433333333333</c:v>
                </c:pt>
                <c:pt idx="1292">
                  <c:v>95.782499999999999</c:v>
                </c:pt>
                <c:pt idx="1293">
                  <c:v>91.242500000000007</c:v>
                </c:pt>
                <c:pt idx="1294">
                  <c:v>94.824999999999903</c:v>
                </c:pt>
                <c:pt idx="1295">
                  <c:v>97.902499999999904</c:v>
                </c:pt>
                <c:pt idx="1296">
                  <c:v>88.783333333333303</c:v>
                </c:pt>
                <c:pt idx="1297">
                  <c:v>93.279999999999902</c:v>
                </c:pt>
                <c:pt idx="1298">
                  <c:v>89.876666666666594</c:v>
                </c:pt>
                <c:pt idx="1299">
                  <c:v>93.448333333333295</c:v>
                </c:pt>
                <c:pt idx="1300">
                  <c:v>89.710833333333298</c:v>
                </c:pt>
                <c:pt idx="1301">
                  <c:v>93.548333333333304</c:v>
                </c:pt>
                <c:pt idx="1302">
                  <c:v>97.102500000000006</c:v>
                </c:pt>
                <c:pt idx="1303">
                  <c:v>93.54</c:v>
                </c:pt>
                <c:pt idx="1304">
                  <c:v>96.017499999999899</c:v>
                </c:pt>
                <c:pt idx="1305">
                  <c:v>95.88</c:v>
                </c:pt>
                <c:pt idx="1306">
                  <c:v>97.279166666666598</c:v>
                </c:pt>
                <c:pt idx="1307">
                  <c:v>92.186666666666596</c:v>
                </c:pt>
                <c:pt idx="1308">
                  <c:v>92.573333333333295</c:v>
                </c:pt>
                <c:pt idx="1309">
                  <c:v>92.292499999999905</c:v>
                </c:pt>
                <c:pt idx="1310">
                  <c:v>89.856666666666598</c:v>
                </c:pt>
                <c:pt idx="1311">
                  <c:v>95.3958333333333</c:v>
                </c:pt>
                <c:pt idx="1312">
                  <c:v>90.515833333333305</c:v>
                </c:pt>
                <c:pt idx="1313">
                  <c:v>91.726666666666603</c:v>
                </c:pt>
                <c:pt idx="1314">
                  <c:v>93.337499999999906</c:v>
                </c:pt>
                <c:pt idx="1315">
                  <c:v>94.040833333333296</c:v>
                </c:pt>
                <c:pt idx="1316">
                  <c:v>91.495833333333294</c:v>
                </c:pt>
                <c:pt idx="1317">
                  <c:v>91.925833333333301</c:v>
                </c:pt>
                <c:pt idx="1318">
                  <c:v>95.820833333333297</c:v>
                </c:pt>
                <c:pt idx="1319">
                  <c:v>96.074166666666599</c:v>
                </c:pt>
                <c:pt idx="1320">
                  <c:v>89.605000000000004</c:v>
                </c:pt>
                <c:pt idx="1321">
                  <c:v>94.202500000000001</c:v>
                </c:pt>
                <c:pt idx="1322">
                  <c:v>94.43</c:v>
                </c:pt>
                <c:pt idx="1323">
                  <c:v>92.056666666666601</c:v>
                </c:pt>
                <c:pt idx="1324">
                  <c:v>93.225833333333298</c:v>
                </c:pt>
                <c:pt idx="1325">
                  <c:v>89.435000000000002</c:v>
                </c:pt>
                <c:pt idx="1326">
                  <c:v>89.132499999999993</c:v>
                </c:pt>
                <c:pt idx="1327">
                  <c:v>92.077499999999901</c:v>
                </c:pt>
                <c:pt idx="1328">
                  <c:v>89.795833333333306</c:v>
                </c:pt>
                <c:pt idx="1329">
                  <c:v>91.334999999999994</c:v>
                </c:pt>
                <c:pt idx="1330">
                  <c:v>91.149166666666602</c:v>
                </c:pt>
                <c:pt idx="1331">
                  <c:v>91.080833333333302</c:v>
                </c:pt>
                <c:pt idx="1332">
                  <c:v>93.509166666666601</c:v>
                </c:pt>
                <c:pt idx="1333">
                  <c:v>92.410833333333301</c:v>
                </c:pt>
                <c:pt idx="1334">
                  <c:v>91.293333333333294</c:v>
                </c:pt>
                <c:pt idx="1335">
                  <c:v>90.894166666666607</c:v>
                </c:pt>
                <c:pt idx="1336">
                  <c:v>92.777499999999904</c:v>
                </c:pt>
                <c:pt idx="1337">
                  <c:v>94.932500000000005</c:v>
                </c:pt>
                <c:pt idx="1338">
                  <c:v>92.434166666666599</c:v>
                </c:pt>
                <c:pt idx="1339">
                  <c:v>93.046666666666596</c:v>
                </c:pt>
                <c:pt idx="1340">
                  <c:v>93.422499999999999</c:v>
                </c:pt>
                <c:pt idx="1341">
                  <c:v>97.349166666666605</c:v>
                </c:pt>
                <c:pt idx="1342">
                  <c:v>96.465454545454506</c:v>
                </c:pt>
                <c:pt idx="1343">
                  <c:v>92.75</c:v>
                </c:pt>
                <c:pt idx="1344">
                  <c:v>92.273333333333298</c:v>
                </c:pt>
                <c:pt idx="1345">
                  <c:v>88.793333333333294</c:v>
                </c:pt>
                <c:pt idx="1346">
                  <c:v>87.631666666666604</c:v>
                </c:pt>
                <c:pt idx="1347">
                  <c:v>90.684166666666599</c:v>
                </c:pt>
                <c:pt idx="1348">
                  <c:v>90.214999999999904</c:v>
                </c:pt>
                <c:pt idx="1349">
                  <c:v>93.018333333333302</c:v>
                </c:pt>
                <c:pt idx="1350">
                  <c:v>94.704999999999998</c:v>
                </c:pt>
                <c:pt idx="1351">
                  <c:v>94.664166666666603</c:v>
                </c:pt>
                <c:pt idx="1352">
                  <c:v>92.75</c:v>
                </c:pt>
                <c:pt idx="1353">
                  <c:v>91.389999999999901</c:v>
                </c:pt>
                <c:pt idx="1354">
                  <c:v>93.83</c:v>
                </c:pt>
                <c:pt idx="1355">
                  <c:v>92.7083333333333</c:v>
                </c:pt>
                <c:pt idx="1356">
                  <c:v>91.600833333333298</c:v>
                </c:pt>
                <c:pt idx="1357">
                  <c:v>89.942499999999995</c:v>
                </c:pt>
                <c:pt idx="1358">
                  <c:v>96.827500000000001</c:v>
                </c:pt>
                <c:pt idx="1359">
                  <c:v>95.646666666666604</c:v>
                </c:pt>
                <c:pt idx="1360">
                  <c:v>91.236666666666594</c:v>
                </c:pt>
                <c:pt idx="1361">
                  <c:v>91.305833333333297</c:v>
                </c:pt>
                <c:pt idx="1362">
                  <c:v>90.596666666666593</c:v>
                </c:pt>
                <c:pt idx="1363">
                  <c:v>95.46</c:v>
                </c:pt>
                <c:pt idx="1364">
                  <c:v>95.662499999999895</c:v>
                </c:pt>
                <c:pt idx="1365">
                  <c:v>97.945833333333297</c:v>
                </c:pt>
                <c:pt idx="1366">
                  <c:v>92.997500000000002</c:v>
                </c:pt>
                <c:pt idx="1367">
                  <c:v>95.619166666666601</c:v>
                </c:pt>
                <c:pt idx="1368">
                  <c:v>94.369166666666601</c:v>
                </c:pt>
                <c:pt idx="1369">
                  <c:v>88.018333333333302</c:v>
                </c:pt>
                <c:pt idx="1370">
                  <c:v>90.931666666666601</c:v>
                </c:pt>
                <c:pt idx="1371">
                  <c:v>94.170833333333306</c:v>
                </c:pt>
                <c:pt idx="1372">
                  <c:v>96.814166666666594</c:v>
                </c:pt>
                <c:pt idx="1373">
                  <c:v>92.745000000000005</c:v>
                </c:pt>
                <c:pt idx="1374">
                  <c:v>89.886666666666599</c:v>
                </c:pt>
                <c:pt idx="1375">
                  <c:v>91.894545454545394</c:v>
                </c:pt>
                <c:pt idx="1376">
                  <c:v>90.055714285714203</c:v>
                </c:pt>
                <c:pt idx="1377">
                  <c:v>92.525833333333296</c:v>
                </c:pt>
                <c:pt idx="1378">
                  <c:v>93.71875</c:v>
                </c:pt>
                <c:pt idx="1379">
                  <c:v>94.435833333333306</c:v>
                </c:pt>
                <c:pt idx="1380">
                  <c:v>95.419166666666598</c:v>
                </c:pt>
                <c:pt idx="1381">
                  <c:v>94.839999999999904</c:v>
                </c:pt>
                <c:pt idx="1382">
                  <c:v>90.721666666666593</c:v>
                </c:pt>
                <c:pt idx="1383">
                  <c:v>97.636666666666599</c:v>
                </c:pt>
                <c:pt idx="1384">
                  <c:v>90.548333333333304</c:v>
                </c:pt>
                <c:pt idx="1385">
                  <c:v>91.250833333333304</c:v>
                </c:pt>
                <c:pt idx="1386">
                  <c:v>92.099166666666605</c:v>
                </c:pt>
                <c:pt idx="1387">
                  <c:v>92.097272727272696</c:v>
                </c:pt>
                <c:pt idx="1388">
                  <c:v>97.952857142857098</c:v>
                </c:pt>
                <c:pt idx="1389">
                  <c:v>92.206666666666607</c:v>
                </c:pt>
                <c:pt idx="1390">
                  <c:v>96.4433333333333</c:v>
                </c:pt>
                <c:pt idx="1391">
                  <c:v>94.2766666666666</c:v>
                </c:pt>
                <c:pt idx="1392">
                  <c:v>90.676666666666605</c:v>
                </c:pt>
                <c:pt idx="1393">
                  <c:v>92.789166666666603</c:v>
                </c:pt>
                <c:pt idx="1394">
                  <c:v>87.263333333333307</c:v>
                </c:pt>
                <c:pt idx="1395">
                  <c:v>91.471666666666593</c:v>
                </c:pt>
                <c:pt idx="1396">
                  <c:v>96.064166666666594</c:v>
                </c:pt>
                <c:pt idx="1397">
                  <c:v>95.494166666666601</c:v>
                </c:pt>
                <c:pt idx="1398">
                  <c:v>94.431666666666601</c:v>
                </c:pt>
                <c:pt idx="1399">
                  <c:v>92.842499999999902</c:v>
                </c:pt>
                <c:pt idx="1400">
                  <c:v>97.060833333333306</c:v>
                </c:pt>
                <c:pt idx="1401">
                  <c:v>92.796666666666596</c:v>
                </c:pt>
                <c:pt idx="1402">
                  <c:v>92.504999999999995</c:v>
                </c:pt>
                <c:pt idx="1403">
                  <c:v>92.484166666666596</c:v>
                </c:pt>
                <c:pt idx="1404">
                  <c:v>91.757000000000005</c:v>
                </c:pt>
                <c:pt idx="1405">
                  <c:v>93.080833333333302</c:v>
                </c:pt>
                <c:pt idx="1406">
                  <c:v>92.68</c:v>
                </c:pt>
                <c:pt idx="1407">
                  <c:v>91.634166666666601</c:v>
                </c:pt>
                <c:pt idx="1408">
                  <c:v>95.111666666666594</c:v>
                </c:pt>
                <c:pt idx="1409">
                  <c:v>93.984999999999999</c:v>
                </c:pt>
                <c:pt idx="1410">
                  <c:v>94.454999999999998</c:v>
                </c:pt>
                <c:pt idx="1411">
                  <c:v>92.797499999999999</c:v>
                </c:pt>
                <c:pt idx="1412">
                  <c:v>93.024166666666602</c:v>
                </c:pt>
                <c:pt idx="1413">
                  <c:v>92.905000000000001</c:v>
                </c:pt>
                <c:pt idx="1414">
                  <c:v>92.018333333333302</c:v>
                </c:pt>
                <c:pt idx="1415">
                  <c:v>94.912499999999994</c:v>
                </c:pt>
                <c:pt idx="1416">
                  <c:v>93.859166666666596</c:v>
                </c:pt>
                <c:pt idx="1417">
                  <c:v>91.686666666666596</c:v>
                </c:pt>
                <c:pt idx="1418">
                  <c:v>93.885833333333295</c:v>
                </c:pt>
                <c:pt idx="1419">
                  <c:v>93.326666666666597</c:v>
                </c:pt>
                <c:pt idx="1420">
                  <c:v>94.9375</c:v>
                </c:pt>
                <c:pt idx="1421">
                  <c:v>94.245833333333294</c:v>
                </c:pt>
                <c:pt idx="1422">
                  <c:v>89.978333333333296</c:v>
                </c:pt>
                <c:pt idx="1423">
                  <c:v>93.031666666666595</c:v>
                </c:pt>
                <c:pt idx="1424">
                  <c:v>92.2708333333333</c:v>
                </c:pt>
                <c:pt idx="1425">
                  <c:v>93.975833333333298</c:v>
                </c:pt>
                <c:pt idx="1426">
                  <c:v>91.39</c:v>
                </c:pt>
                <c:pt idx="1427">
                  <c:v>89.696666666666601</c:v>
                </c:pt>
                <c:pt idx="1428">
                  <c:v>94.949166666666599</c:v>
                </c:pt>
                <c:pt idx="1429">
                  <c:v>93.538333333333298</c:v>
                </c:pt>
                <c:pt idx="1430">
                  <c:v>93.586666666666602</c:v>
                </c:pt>
                <c:pt idx="1431">
                  <c:v>91.453333333333305</c:v>
                </c:pt>
                <c:pt idx="1432">
                  <c:v>92.62</c:v>
                </c:pt>
                <c:pt idx="1433">
                  <c:v>95.298333333333304</c:v>
                </c:pt>
                <c:pt idx="1434">
                  <c:v>92.412499999999994</c:v>
                </c:pt>
                <c:pt idx="1435">
                  <c:v>90.366666666666603</c:v>
                </c:pt>
                <c:pt idx="1436">
                  <c:v>92.250833333333304</c:v>
                </c:pt>
                <c:pt idx="1437">
                  <c:v>91.97</c:v>
                </c:pt>
                <c:pt idx="1438">
                  <c:v>93.757499999999993</c:v>
                </c:pt>
                <c:pt idx="1439">
                  <c:v>95.6458333333333</c:v>
                </c:pt>
                <c:pt idx="1440">
                  <c:v>92.878333333333302</c:v>
                </c:pt>
                <c:pt idx="1441">
                  <c:v>92.855833333333294</c:v>
                </c:pt>
                <c:pt idx="1442">
                  <c:v>93.114999999999995</c:v>
                </c:pt>
                <c:pt idx="1443">
                  <c:v>92.212499999999906</c:v>
                </c:pt>
                <c:pt idx="1444">
                  <c:v>93.219166666666595</c:v>
                </c:pt>
                <c:pt idx="1445">
                  <c:v>93.787499999999895</c:v>
                </c:pt>
                <c:pt idx="1446">
                  <c:v>94.329999999999899</c:v>
                </c:pt>
                <c:pt idx="1447">
                  <c:v>95.224166666666605</c:v>
                </c:pt>
                <c:pt idx="1448">
                  <c:v>92.940833333333302</c:v>
                </c:pt>
                <c:pt idx="1449">
                  <c:v>90.131666666666604</c:v>
                </c:pt>
                <c:pt idx="1450">
                  <c:v>90.2141666666666</c:v>
                </c:pt>
                <c:pt idx="1451">
                  <c:v>91.858333333333306</c:v>
                </c:pt>
                <c:pt idx="1452">
                  <c:v>96.48</c:v>
                </c:pt>
                <c:pt idx="1453">
                  <c:v>96.315833333333302</c:v>
                </c:pt>
                <c:pt idx="1454">
                  <c:v>95.259166666666601</c:v>
                </c:pt>
                <c:pt idx="1455">
                  <c:v>95.25</c:v>
                </c:pt>
                <c:pt idx="1456">
                  <c:v>94.122500000000002</c:v>
                </c:pt>
                <c:pt idx="1457">
                  <c:v>92.79</c:v>
                </c:pt>
                <c:pt idx="1458">
                  <c:v>90.688333333333304</c:v>
                </c:pt>
                <c:pt idx="1459">
                  <c:v>96.152500000000003</c:v>
                </c:pt>
              </c:numCache>
            </c:numRef>
          </c:xVal>
          <c:yVal>
            <c:numRef>
              <c:f>Sheet1!$B$3:$B$1462</c:f>
              <c:numCache>
                <c:formatCode>0.00</c:formatCode>
                <c:ptCount val="1460"/>
                <c:pt idx="0">
                  <c:v>2674.4304999999999</c:v>
                </c:pt>
                <c:pt idx="1">
                  <c:v>2576.1278333333298</c:v>
                </c:pt>
                <c:pt idx="2">
                  <c:v>2131.9819583333301</c:v>
                </c:pt>
                <c:pt idx="3">
                  <c:v>2772.0559583333302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898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298</c:v>
                </c:pt>
                <c:pt idx="12">
                  <c:v>2228.9214999999999</c:v>
                </c:pt>
                <c:pt idx="13">
                  <c:v>2289.4490000000001</c:v>
                </c:pt>
                <c:pt idx="14">
                  <c:v>1966.19391666666</c:v>
                </c:pt>
                <c:pt idx="15">
                  <c:v>2222.9840416666598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01</c:v>
                </c:pt>
                <c:pt idx="19">
                  <c:v>2157.2933333333299</c:v>
                </c:pt>
                <c:pt idx="20">
                  <c:v>1933.9007916666601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01</c:v>
                </c:pt>
                <c:pt idx="24">
                  <c:v>1863.6369999999899</c:v>
                </c:pt>
                <c:pt idx="25">
                  <c:v>2185.68658333333</c:v>
                </c:pt>
                <c:pt idx="26">
                  <c:v>2185.5760416666599</c:v>
                </c:pt>
                <c:pt idx="27">
                  <c:v>3175.2769166666599</c:v>
                </c:pt>
                <c:pt idx="28">
                  <c:v>2648.79408333333</c:v>
                </c:pt>
                <c:pt idx="29">
                  <c:v>3164.5167499999998</c:v>
                </c:pt>
                <c:pt idx="30">
                  <c:v>2308.0395416666602</c:v>
                </c:pt>
                <c:pt idx="31">
                  <c:v>2417.7790416666599</c:v>
                </c:pt>
                <c:pt idx="32">
                  <c:v>1961.419625</c:v>
                </c:pt>
                <c:pt idx="33">
                  <c:v>2127.0714583333302</c:v>
                </c:pt>
                <c:pt idx="34">
                  <c:v>2004.6923124999901</c:v>
                </c:pt>
                <c:pt idx="35">
                  <c:v>2200.4989999999998</c:v>
                </c:pt>
                <c:pt idx="36">
                  <c:v>1839.5621428571401</c:v>
                </c:pt>
                <c:pt idx="37">
                  <c:v>2184.156125</c:v>
                </c:pt>
                <c:pt idx="38">
                  <c:v>1748.4124999999999</c:v>
                </c:pt>
                <c:pt idx="39">
                  <c:v>2417.6507083333299</c:v>
                </c:pt>
                <c:pt idx="40">
                  <c:v>2067.5482916666601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599</c:v>
                </c:pt>
                <c:pt idx="44">
                  <c:v>2155.5055416666601</c:v>
                </c:pt>
                <c:pt idx="45">
                  <c:v>2449.9735416666599</c:v>
                </c:pt>
                <c:pt idx="46">
                  <c:v>1994.9894545454499</c:v>
                </c:pt>
                <c:pt idx="47">
                  <c:v>2281.8349166666599</c:v>
                </c:pt>
                <c:pt idx="48">
                  <c:v>1951.5263333333301</c:v>
                </c:pt>
                <c:pt idx="49">
                  <c:v>2341.0592916666601</c:v>
                </c:pt>
                <c:pt idx="50">
                  <c:v>1823.6909166666601</c:v>
                </c:pt>
                <c:pt idx="51">
                  <c:v>2288.3790416666602</c:v>
                </c:pt>
                <c:pt idx="52">
                  <c:v>1833.969625</c:v>
                </c:pt>
                <c:pt idx="53">
                  <c:v>2465.6632500000001</c:v>
                </c:pt>
                <c:pt idx="54">
                  <c:v>1844.722</c:v>
                </c:pt>
                <c:pt idx="55">
                  <c:v>2259.0371666666601</c:v>
                </c:pt>
                <c:pt idx="56">
                  <c:v>1988.9660833333301</c:v>
                </c:pt>
                <c:pt idx="57">
                  <c:v>2498.4301666666602</c:v>
                </c:pt>
                <c:pt idx="58">
                  <c:v>2064.4832499999902</c:v>
                </c:pt>
                <c:pt idx="59">
                  <c:v>2629.6935416666602</c:v>
                </c:pt>
                <c:pt idx="60">
                  <c:v>2088.8087500000001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49999999</c:v>
                </c:pt>
                <c:pt idx="64">
                  <c:v>2012.0826666666601</c:v>
                </c:pt>
                <c:pt idx="65">
                  <c:v>2765.58395833333</c:v>
                </c:pt>
                <c:pt idx="66">
                  <c:v>1877.6705833333299</c:v>
                </c:pt>
                <c:pt idx="67">
                  <c:v>2193.5964166666599</c:v>
                </c:pt>
                <c:pt idx="68">
                  <c:v>2175.5892142857101</c:v>
                </c:pt>
                <c:pt idx="69">
                  <c:v>2378.2999583333299</c:v>
                </c:pt>
                <c:pt idx="70">
                  <c:v>2051.6291428571399</c:v>
                </c:pt>
                <c:pt idx="71">
                  <c:v>2120.0478750000002</c:v>
                </c:pt>
                <c:pt idx="72">
                  <c:v>1760.261375</c:v>
                </c:pt>
                <c:pt idx="73">
                  <c:v>2111.6414583333299</c:v>
                </c:pt>
                <c:pt idx="74">
                  <c:v>2026.5122916666601</c:v>
                </c:pt>
                <c:pt idx="75">
                  <c:v>2289.0562083333298</c:v>
                </c:pt>
                <c:pt idx="76">
                  <c:v>1996.34679166666</c:v>
                </c:pt>
                <c:pt idx="77">
                  <c:v>2194.7312916666601</c:v>
                </c:pt>
                <c:pt idx="78">
                  <c:v>1922.08879166666</c:v>
                </c:pt>
                <c:pt idx="79">
                  <c:v>2188.2592916666599</c:v>
                </c:pt>
                <c:pt idx="80">
                  <c:v>1805.3314583333299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01</c:v>
                </c:pt>
                <c:pt idx="85">
                  <c:v>2126.41379166666</c:v>
                </c:pt>
                <c:pt idx="86">
                  <c:v>2547.8222500000002</c:v>
                </c:pt>
                <c:pt idx="87">
                  <c:v>3266.0770833333299</c:v>
                </c:pt>
                <c:pt idx="88">
                  <c:v>2419.2827499999999</c:v>
                </c:pt>
                <c:pt idx="89">
                  <c:v>2691.4539999999902</c:v>
                </c:pt>
                <c:pt idx="90">
                  <c:v>2256.8607499999998</c:v>
                </c:pt>
                <c:pt idx="91">
                  <c:v>2775.1006666666599</c:v>
                </c:pt>
                <c:pt idx="92">
                  <c:v>2142.8525833333301</c:v>
                </c:pt>
                <c:pt idx="93">
                  <c:v>2670.6450833333301</c:v>
                </c:pt>
                <c:pt idx="94">
                  <c:v>1874.96795833333</c:v>
                </c:pt>
                <c:pt idx="95">
                  <c:v>2058.6119166666599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299</c:v>
                </c:pt>
                <c:pt idx="101">
                  <c:v>3203.9935833333302</c:v>
                </c:pt>
                <c:pt idx="102">
                  <c:v>2531.7787499999999</c:v>
                </c:pt>
                <c:pt idx="103">
                  <c:v>3296.54145833333</c:v>
                </c:pt>
                <c:pt idx="104">
                  <c:v>2438.7048749999999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299</c:v>
                </c:pt>
                <c:pt idx="108">
                  <c:v>1658.6374166666601</c:v>
                </c:pt>
                <c:pt idx="109">
                  <c:v>2032.0067083333299</c:v>
                </c:pt>
                <c:pt idx="110">
                  <c:v>2014.1435833333301</c:v>
                </c:pt>
                <c:pt idx="111">
                  <c:v>2763.3914999999902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49999999</c:v>
                </c:pt>
                <c:pt idx="116">
                  <c:v>2219.0850833333302</c:v>
                </c:pt>
                <c:pt idx="117">
                  <c:v>2785.3510000000001</c:v>
                </c:pt>
                <c:pt idx="118">
                  <c:v>2022.3139166666599</c:v>
                </c:pt>
                <c:pt idx="119">
                  <c:v>2246.1746250000001</c:v>
                </c:pt>
                <c:pt idx="120">
                  <c:v>1955.92941666666</c:v>
                </c:pt>
                <c:pt idx="121">
                  <c:v>2746.7552083333298</c:v>
                </c:pt>
                <c:pt idx="122">
                  <c:v>1767.7171249999999</c:v>
                </c:pt>
                <c:pt idx="123">
                  <c:v>2275.6261666666601</c:v>
                </c:pt>
                <c:pt idx="124">
                  <c:v>2016.70516666666</c:v>
                </c:pt>
                <c:pt idx="125">
                  <c:v>2550.7890000000002</c:v>
                </c:pt>
                <c:pt idx="126">
                  <c:v>1815.8290833333299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49999998</c:v>
                </c:pt>
                <c:pt idx="130">
                  <c:v>2008.6056249999999</c:v>
                </c:pt>
                <c:pt idx="131">
                  <c:v>2403.17054166666</c:v>
                </c:pt>
                <c:pt idx="132">
                  <c:v>1802.7807499999999</c:v>
                </c:pt>
                <c:pt idx="133">
                  <c:v>2012.3384166666599</c:v>
                </c:pt>
                <c:pt idx="134">
                  <c:v>1925.6469583333301</c:v>
                </c:pt>
                <c:pt idx="135">
                  <c:v>2278.7637083333302</c:v>
                </c:pt>
                <c:pt idx="136">
                  <c:v>2003.20657142857</c:v>
                </c:pt>
                <c:pt idx="137">
                  <c:v>2089.9385833333299</c:v>
                </c:pt>
                <c:pt idx="138">
                  <c:v>1675.94927272727</c:v>
                </c:pt>
                <c:pt idx="139">
                  <c:v>2098.6694583333301</c:v>
                </c:pt>
                <c:pt idx="140">
                  <c:v>1905.87735</c:v>
                </c:pt>
                <c:pt idx="141">
                  <c:v>2054.7722916666598</c:v>
                </c:pt>
                <c:pt idx="142">
                  <c:v>1897.8969090909</c:v>
                </c:pt>
                <c:pt idx="143">
                  <c:v>2157.9027500000002</c:v>
                </c:pt>
                <c:pt idx="144">
                  <c:v>2109.0095000000001</c:v>
                </c:pt>
                <c:pt idx="145">
                  <c:v>2259.53731818181</c:v>
                </c:pt>
                <c:pt idx="146">
                  <c:v>2036.0522000000001</c:v>
                </c:pt>
                <c:pt idx="147">
                  <c:v>2303.133875</c:v>
                </c:pt>
                <c:pt idx="148">
                  <c:v>1791.6844999999901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01</c:v>
                </c:pt>
                <c:pt idx="152">
                  <c:v>2108.3857083333301</c:v>
                </c:pt>
                <c:pt idx="153">
                  <c:v>2577.1646249999999</c:v>
                </c:pt>
                <c:pt idx="154">
                  <c:v>2107.1595833333299</c:v>
                </c:pt>
                <c:pt idx="155">
                  <c:v>2527.9144166666601</c:v>
                </c:pt>
                <c:pt idx="156">
                  <c:v>2046.2037499999999</c:v>
                </c:pt>
                <c:pt idx="157">
                  <c:v>2268.3677916666602</c:v>
                </c:pt>
                <c:pt idx="158">
                  <c:v>1968.2440909090899</c:v>
                </c:pt>
                <c:pt idx="159">
                  <c:v>2173.0286249999999</c:v>
                </c:pt>
                <c:pt idx="160">
                  <c:v>2010.4895555555499</c:v>
                </c:pt>
                <c:pt idx="161">
                  <c:v>2118.1903750000001</c:v>
                </c:pt>
                <c:pt idx="162">
                  <c:v>1785.1503749999899</c:v>
                </c:pt>
                <c:pt idx="163">
                  <c:v>1962.36544999999</c:v>
                </c:pt>
                <c:pt idx="164">
                  <c:v>1752.3128999999999</c:v>
                </c:pt>
                <c:pt idx="165">
                  <c:v>1970.0640454545401</c:v>
                </c:pt>
                <c:pt idx="166">
                  <c:v>2105.8021250000002</c:v>
                </c:pt>
                <c:pt idx="167">
                  <c:v>2244.6122083333298</c:v>
                </c:pt>
                <c:pt idx="168">
                  <c:v>2130.4705714285701</c:v>
                </c:pt>
                <c:pt idx="169">
                  <c:v>2107.2345416666599</c:v>
                </c:pt>
                <c:pt idx="170">
                  <c:v>1890.0461250000001</c:v>
                </c:pt>
                <c:pt idx="171">
                  <c:v>2064.86241666666</c:v>
                </c:pt>
                <c:pt idx="172">
                  <c:v>1992.3972777777699</c:v>
                </c:pt>
                <c:pt idx="173">
                  <c:v>2193.5958333333301</c:v>
                </c:pt>
                <c:pt idx="174">
                  <c:v>1713.057875</c:v>
                </c:pt>
                <c:pt idx="175">
                  <c:v>1844.6421111111099</c:v>
                </c:pt>
                <c:pt idx="176">
                  <c:v>1794.3062</c:v>
                </c:pt>
                <c:pt idx="177">
                  <c:v>1879.9822222222199</c:v>
                </c:pt>
                <c:pt idx="178">
                  <c:v>1726.2678333333299</c:v>
                </c:pt>
                <c:pt idx="179">
                  <c:v>1909.5529166666599</c:v>
                </c:pt>
                <c:pt idx="180">
                  <c:v>1895.5373499999901</c:v>
                </c:pt>
                <c:pt idx="181">
                  <c:v>2075.2814583333302</c:v>
                </c:pt>
                <c:pt idx="182">
                  <c:v>2204.4625000000001</c:v>
                </c:pt>
                <c:pt idx="183">
                  <c:v>2647.4805833333298</c:v>
                </c:pt>
                <c:pt idx="184">
                  <c:v>1895.28920833333</c:v>
                </c:pt>
                <c:pt idx="185">
                  <c:v>2096.7167083333302</c:v>
                </c:pt>
                <c:pt idx="186">
                  <c:v>2094.1008333333298</c:v>
                </c:pt>
                <c:pt idx="187">
                  <c:v>2630.4309166666599</c:v>
                </c:pt>
                <c:pt idx="188">
                  <c:v>1754.1857499999901</c:v>
                </c:pt>
                <c:pt idx="189">
                  <c:v>1884.8855454545401</c:v>
                </c:pt>
                <c:pt idx="190">
                  <c:v>1949.35475</c:v>
                </c:pt>
                <c:pt idx="191">
                  <c:v>2305.1105416666601</c:v>
                </c:pt>
                <c:pt idx="192">
                  <c:v>2093.9851249999901</c:v>
                </c:pt>
                <c:pt idx="193">
                  <c:v>2421.5386249999901</c:v>
                </c:pt>
                <c:pt idx="194">
                  <c:v>1716.26629166666</c:v>
                </c:pt>
                <c:pt idx="195">
                  <c:v>1981.6607083333299</c:v>
                </c:pt>
                <c:pt idx="196">
                  <c:v>1874.97291666666</c:v>
                </c:pt>
                <c:pt idx="197">
                  <c:v>2096.9939999999901</c:v>
                </c:pt>
                <c:pt idx="198">
                  <c:v>1859.7716666666599</c:v>
                </c:pt>
                <c:pt idx="199">
                  <c:v>2115.2125000000001</c:v>
                </c:pt>
                <c:pt idx="200">
                  <c:v>2080.5575833333301</c:v>
                </c:pt>
                <c:pt idx="201">
                  <c:v>2572.0059999999999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299</c:v>
                </c:pt>
                <c:pt idx="205">
                  <c:v>2098.1899166666599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01</c:v>
                </c:pt>
                <c:pt idx="209">
                  <c:v>2398.56170833333</c:v>
                </c:pt>
                <c:pt idx="210">
                  <c:v>2048.9234999999999</c:v>
                </c:pt>
                <c:pt idx="211">
                  <c:v>2373.5059999999999</c:v>
                </c:pt>
                <c:pt idx="212">
                  <c:v>1995.30845833333</c:v>
                </c:pt>
                <c:pt idx="213">
                  <c:v>2278.0785833333298</c:v>
                </c:pt>
                <c:pt idx="214">
                  <c:v>1923.8526666666601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598</c:v>
                </c:pt>
                <c:pt idx="218">
                  <c:v>1731.95370833333</c:v>
                </c:pt>
                <c:pt idx="219">
                  <c:v>1932.3406666666599</c:v>
                </c:pt>
                <c:pt idx="220">
                  <c:v>1618.6572916666601</c:v>
                </c:pt>
                <c:pt idx="221">
                  <c:v>1923.4404583333301</c:v>
                </c:pt>
                <c:pt idx="222">
                  <c:v>1879.78416666666</c:v>
                </c:pt>
                <c:pt idx="223">
                  <c:v>2109.7046666666602</c:v>
                </c:pt>
                <c:pt idx="224">
                  <c:v>1805.62670833333</c:v>
                </c:pt>
                <c:pt idx="225">
                  <c:v>2094.1961249999999</c:v>
                </c:pt>
                <c:pt idx="226">
                  <c:v>1835.2183333333301</c:v>
                </c:pt>
                <c:pt idx="227">
                  <c:v>2135.9254999999998</c:v>
                </c:pt>
                <c:pt idx="228">
                  <c:v>1650.9535000000001</c:v>
                </c:pt>
                <c:pt idx="229">
                  <c:v>1909.9368750000001</c:v>
                </c:pt>
                <c:pt idx="230">
                  <c:v>1819.76733333333</c:v>
                </c:pt>
                <c:pt idx="231">
                  <c:v>2076.1788333333302</c:v>
                </c:pt>
                <c:pt idx="232">
                  <c:v>1647.1206666666601</c:v>
                </c:pt>
                <c:pt idx="233">
                  <c:v>1907.8098749999999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0000000001</c:v>
                </c:pt>
                <c:pt idx="237">
                  <c:v>2112.4864583333301</c:v>
                </c:pt>
                <c:pt idx="238">
                  <c:v>2040.2557142857099</c:v>
                </c:pt>
                <c:pt idx="239">
                  <c:v>2149.3773333333302</c:v>
                </c:pt>
                <c:pt idx="240">
                  <c:v>1816.9179999999999</c:v>
                </c:pt>
                <c:pt idx="241">
                  <c:v>2432.2733181818098</c:v>
                </c:pt>
                <c:pt idx="242">
                  <c:v>2029.36579166666</c:v>
                </c:pt>
                <c:pt idx="243">
                  <c:v>2417.7076666666599</c:v>
                </c:pt>
                <c:pt idx="244">
                  <c:v>1971.1330416666599</c:v>
                </c:pt>
                <c:pt idx="245">
                  <c:v>2307.2817083333298</c:v>
                </c:pt>
                <c:pt idx="246">
                  <c:v>2072.0460416666601</c:v>
                </c:pt>
                <c:pt idx="247">
                  <c:v>2325.5537083333302</c:v>
                </c:pt>
                <c:pt idx="248">
                  <c:v>1682.53033333333</c:v>
                </c:pt>
                <c:pt idx="249">
                  <c:v>1845.6923750000001</c:v>
                </c:pt>
                <c:pt idx="250">
                  <c:v>1947.2274583333301</c:v>
                </c:pt>
                <c:pt idx="251">
                  <c:v>2272.6708333333299</c:v>
                </c:pt>
                <c:pt idx="252">
                  <c:v>2162.9690416666599</c:v>
                </c:pt>
                <c:pt idx="253">
                  <c:v>2396.8091666666601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01</c:v>
                </c:pt>
                <c:pt idx="258">
                  <c:v>1752.35545833333</c:v>
                </c:pt>
                <c:pt idx="259">
                  <c:v>1953.0465833333301</c:v>
                </c:pt>
                <c:pt idx="260">
                  <c:v>2006.93199999999</c:v>
                </c:pt>
                <c:pt idx="261">
                  <c:v>2167.6819583333299</c:v>
                </c:pt>
                <c:pt idx="262">
                  <c:v>2025.9698333333299</c:v>
                </c:pt>
                <c:pt idx="263">
                  <c:v>2364.0405416666599</c:v>
                </c:pt>
                <c:pt idx="264">
                  <c:v>1953.5266875</c:v>
                </c:pt>
                <c:pt idx="265">
                  <c:v>2081.5011666666601</c:v>
                </c:pt>
                <c:pt idx="266">
                  <c:v>1833.8292916666601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02</c:v>
                </c:pt>
                <c:pt idx="270">
                  <c:v>1989.1543750000001</c:v>
                </c:pt>
                <c:pt idx="271">
                  <c:v>2151.98383333333</c:v>
                </c:pt>
                <c:pt idx="272">
                  <c:v>1885.0945454545399</c:v>
                </c:pt>
                <c:pt idx="273">
                  <c:v>2100.1242499999998</c:v>
                </c:pt>
                <c:pt idx="274">
                  <c:v>1702.1761818181801</c:v>
                </c:pt>
                <c:pt idx="275">
                  <c:v>1951.5956249999999</c:v>
                </c:pt>
                <c:pt idx="276">
                  <c:v>1599.57408333333</c:v>
                </c:pt>
                <c:pt idx="277">
                  <c:v>1928.0886666666599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01</c:v>
                </c:pt>
                <c:pt idx="282">
                  <c:v>1896.82779166666</c:v>
                </c:pt>
                <c:pt idx="283">
                  <c:v>2179.9699166666601</c:v>
                </c:pt>
                <c:pt idx="284">
                  <c:v>1908.9708333333299</c:v>
                </c:pt>
                <c:pt idx="285">
                  <c:v>2201.0394166666601</c:v>
                </c:pt>
                <c:pt idx="286">
                  <c:v>1941.4735416666599</c:v>
                </c:pt>
                <c:pt idx="287">
                  <c:v>2156.9471250000001</c:v>
                </c:pt>
                <c:pt idx="288">
                  <c:v>1900.7242857142801</c:v>
                </c:pt>
                <c:pt idx="289">
                  <c:v>1990.6963333333299</c:v>
                </c:pt>
                <c:pt idx="290">
                  <c:v>1641.170875</c:v>
                </c:pt>
                <c:pt idx="291">
                  <c:v>1928.348999999999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299</c:v>
                </c:pt>
                <c:pt idx="295">
                  <c:v>2221.4512083333302</c:v>
                </c:pt>
                <c:pt idx="296">
                  <c:v>1911.44145833333</c:v>
                </c:pt>
                <c:pt idx="297">
                  <c:v>2154.5671666666599</c:v>
                </c:pt>
                <c:pt idx="298">
                  <c:v>2086.4557222222202</c:v>
                </c:pt>
                <c:pt idx="299">
                  <c:v>2375.8916249999902</c:v>
                </c:pt>
                <c:pt idx="300">
                  <c:v>2278.90968749999</c:v>
                </c:pt>
                <c:pt idx="301">
                  <c:v>2414.6731818181802</c:v>
                </c:pt>
                <c:pt idx="302">
                  <c:v>1976.13129999999</c:v>
                </c:pt>
                <c:pt idx="303">
                  <c:v>2665.5086249999999</c:v>
                </c:pt>
                <c:pt idx="304">
                  <c:v>2063.6120000000001</c:v>
                </c:pt>
                <c:pt idx="305">
                  <c:v>2220.75304166666</c:v>
                </c:pt>
                <c:pt idx="306">
                  <c:v>2043.6455000000001</c:v>
                </c:pt>
                <c:pt idx="307">
                  <c:v>2350.2772916666599</c:v>
                </c:pt>
                <c:pt idx="308">
                  <c:v>1895.89842857142</c:v>
                </c:pt>
                <c:pt idx="309">
                  <c:v>2092.5697499999901</c:v>
                </c:pt>
                <c:pt idx="310">
                  <c:v>1798.14591666666</c:v>
                </c:pt>
                <c:pt idx="311">
                  <c:v>2105.5673333333302</c:v>
                </c:pt>
                <c:pt idx="312">
                  <c:v>1923.17379166666</c:v>
                </c:pt>
                <c:pt idx="313">
                  <c:v>2208.3795416666599</c:v>
                </c:pt>
                <c:pt idx="314">
                  <c:v>1958.0631249999999</c:v>
                </c:pt>
                <c:pt idx="315">
                  <c:v>2245.5582083333302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298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599</c:v>
                </c:pt>
                <c:pt idx="323">
                  <c:v>2126.8541249999998</c:v>
                </c:pt>
                <c:pt idx="324">
                  <c:v>2100.2164583333301</c:v>
                </c:pt>
                <c:pt idx="325">
                  <c:v>2545.1474166666599</c:v>
                </c:pt>
                <c:pt idx="326">
                  <c:v>2023.9495833333301</c:v>
                </c:pt>
                <c:pt idx="327">
                  <c:v>2276.0501250000002</c:v>
                </c:pt>
                <c:pt idx="328">
                  <c:v>1991.1601250000001</c:v>
                </c:pt>
                <c:pt idx="329">
                  <c:v>2287.9387083333299</c:v>
                </c:pt>
                <c:pt idx="330">
                  <c:v>1849.9232916666599</c:v>
                </c:pt>
                <c:pt idx="331">
                  <c:v>2194.1292083333301</c:v>
                </c:pt>
                <c:pt idx="332">
                  <c:v>1790.3879583333301</c:v>
                </c:pt>
                <c:pt idx="333">
                  <c:v>2141.3363749999999</c:v>
                </c:pt>
                <c:pt idx="334">
                  <c:v>2057.9334999999901</c:v>
                </c:pt>
                <c:pt idx="335">
                  <c:v>2406.0681666666601</c:v>
                </c:pt>
                <c:pt idx="336">
                  <c:v>2095.8654166666602</c:v>
                </c:pt>
                <c:pt idx="337">
                  <c:v>2445.3009999999999</c:v>
                </c:pt>
                <c:pt idx="338">
                  <c:v>2086.9225833333298</c:v>
                </c:pt>
                <c:pt idx="339">
                  <c:v>2370.00979166666</c:v>
                </c:pt>
                <c:pt idx="340">
                  <c:v>2085.0864166666602</c:v>
                </c:pt>
                <c:pt idx="341">
                  <c:v>2395.16129166666</c:v>
                </c:pt>
                <c:pt idx="342">
                  <c:v>2235.5886666666602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499999999</c:v>
                </c:pt>
                <c:pt idx="346">
                  <c:v>1914.3522</c:v>
                </c:pt>
                <c:pt idx="347">
                  <c:v>2149.4061666666598</c:v>
                </c:pt>
                <c:pt idx="348">
                  <c:v>1990.1363181818101</c:v>
                </c:pt>
                <c:pt idx="349">
                  <c:v>2258.9283333333301</c:v>
                </c:pt>
                <c:pt idx="350">
                  <c:v>1961.3875</c:v>
                </c:pt>
                <c:pt idx="351">
                  <c:v>2335.6261249999998</c:v>
                </c:pt>
                <c:pt idx="352">
                  <c:v>2000.8362916666599</c:v>
                </c:pt>
                <c:pt idx="353">
                  <c:v>2338.0388749999902</c:v>
                </c:pt>
                <c:pt idx="354">
                  <c:v>2019.33712499999</c:v>
                </c:pt>
                <c:pt idx="355">
                  <c:v>2289.0407083333298</c:v>
                </c:pt>
                <c:pt idx="356">
                  <c:v>1994.4352083333299</c:v>
                </c:pt>
                <c:pt idx="357">
                  <c:v>2222.3777083333298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598</c:v>
                </c:pt>
                <c:pt idx="362">
                  <c:v>2384.7628749999999</c:v>
                </c:pt>
                <c:pt idx="363">
                  <c:v>3175.5055000000002</c:v>
                </c:pt>
                <c:pt idx="364">
                  <c:v>1879.307</c:v>
                </c:pt>
                <c:pt idx="365">
                  <c:v>2233.8377500000001</c:v>
                </c:pt>
                <c:pt idx="366">
                  <c:v>2098.0626499999998</c:v>
                </c:pt>
                <c:pt idx="367">
                  <c:v>2477.5514583333302</c:v>
                </c:pt>
                <c:pt idx="368">
                  <c:v>1810.3757499999999</c:v>
                </c:pt>
                <c:pt idx="369">
                  <c:v>2138.3887916666599</c:v>
                </c:pt>
                <c:pt idx="370">
                  <c:v>1767.7639999999999</c:v>
                </c:pt>
                <c:pt idx="371">
                  <c:v>2166.1871000000001</c:v>
                </c:pt>
                <c:pt idx="372">
                  <c:v>1971.0527499999901</c:v>
                </c:pt>
                <c:pt idx="373">
                  <c:v>2203.1564166666599</c:v>
                </c:pt>
                <c:pt idx="374">
                  <c:v>1859.2815416666599</c:v>
                </c:pt>
                <c:pt idx="375">
                  <c:v>2249.0152916666598</c:v>
                </c:pt>
                <c:pt idx="376">
                  <c:v>1922.1611249999901</c:v>
                </c:pt>
                <c:pt idx="377">
                  <c:v>2221.432875</c:v>
                </c:pt>
                <c:pt idx="378">
                  <c:v>1745.8321249999999</c:v>
                </c:pt>
                <c:pt idx="379">
                  <c:v>2018.5865833333301</c:v>
                </c:pt>
                <c:pt idx="380">
                  <c:v>1857.62129166666</c:v>
                </c:pt>
                <c:pt idx="381">
                  <c:v>2091.5625416666599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49999999</c:v>
                </c:pt>
                <c:pt idx="385">
                  <c:v>2156.9050833333299</c:v>
                </c:pt>
                <c:pt idx="386">
                  <c:v>1863.51966666666</c:v>
                </c:pt>
                <c:pt idx="387">
                  <c:v>2113.2942083333301</c:v>
                </c:pt>
                <c:pt idx="388">
                  <c:v>1727.4197916666601</c:v>
                </c:pt>
                <c:pt idx="389">
                  <c:v>2095.5535</c:v>
                </c:pt>
                <c:pt idx="390">
                  <c:v>1967.7181249999901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49999998</c:v>
                </c:pt>
                <c:pt idx="394">
                  <c:v>2030.9194583333301</c:v>
                </c:pt>
                <c:pt idx="395">
                  <c:v>2445.4532083333302</c:v>
                </c:pt>
                <c:pt idx="396">
                  <c:v>2128.7746666666599</c:v>
                </c:pt>
                <c:pt idx="397">
                  <c:v>2486.29025</c:v>
                </c:pt>
                <c:pt idx="398">
                  <c:v>2153.5862499999998</c:v>
                </c:pt>
                <c:pt idx="399">
                  <c:v>2445.9498749999998</c:v>
                </c:pt>
                <c:pt idx="400">
                  <c:v>1976.4664166666601</c:v>
                </c:pt>
                <c:pt idx="401">
                  <c:v>2273.79779166666</c:v>
                </c:pt>
                <c:pt idx="402">
                  <c:v>1887.0905416666601</c:v>
                </c:pt>
                <c:pt idx="403">
                  <c:v>2286.2764583333301</c:v>
                </c:pt>
                <c:pt idx="404">
                  <c:v>2117.26695833333</c:v>
                </c:pt>
                <c:pt idx="405">
                  <c:v>2382.9783333333298</c:v>
                </c:pt>
                <c:pt idx="406">
                  <c:v>2141.53866666666</c:v>
                </c:pt>
                <c:pt idx="407">
                  <c:v>2240.2341666666598</c:v>
                </c:pt>
                <c:pt idx="408">
                  <c:v>1878.19175</c:v>
                </c:pt>
                <c:pt idx="409">
                  <c:v>2191.5256250000002</c:v>
                </c:pt>
                <c:pt idx="410">
                  <c:v>1887.7463749999899</c:v>
                </c:pt>
                <c:pt idx="411">
                  <c:v>2213.9628333333299</c:v>
                </c:pt>
                <c:pt idx="412">
                  <c:v>1996.06308333333</c:v>
                </c:pt>
                <c:pt idx="413">
                  <c:v>2482.7692499999998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599</c:v>
                </c:pt>
                <c:pt idx="417">
                  <c:v>2099.3076249999999</c:v>
                </c:pt>
                <c:pt idx="418">
                  <c:v>2000.35366666666</c:v>
                </c:pt>
                <c:pt idx="419">
                  <c:v>2385.5984999999901</c:v>
                </c:pt>
                <c:pt idx="420">
                  <c:v>2051.9919583333299</c:v>
                </c:pt>
                <c:pt idx="421">
                  <c:v>2307.1601249999999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499999998</c:v>
                </c:pt>
                <c:pt idx="425">
                  <c:v>3135.2914166666601</c:v>
                </c:pt>
                <c:pt idx="426">
                  <c:v>2020.72577777777</c:v>
                </c:pt>
                <c:pt idx="427">
                  <c:v>2479.9036666666598</c:v>
                </c:pt>
                <c:pt idx="428">
                  <c:v>2173.7058333333298</c:v>
                </c:pt>
                <c:pt idx="429">
                  <c:v>2584.7835833333302</c:v>
                </c:pt>
                <c:pt idx="430">
                  <c:v>2057.4659999999999</c:v>
                </c:pt>
                <c:pt idx="431">
                  <c:v>2659.6397499999998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0000002</c:v>
                </c:pt>
                <c:pt idx="437">
                  <c:v>2471.3907916666599</c:v>
                </c:pt>
                <c:pt idx="438">
                  <c:v>1920.2779583333299</c:v>
                </c:pt>
                <c:pt idx="439">
                  <c:v>2274.8648333333299</c:v>
                </c:pt>
                <c:pt idx="440">
                  <c:v>1595.4885833333301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499999999</c:v>
                </c:pt>
                <c:pt idx="447">
                  <c:v>1969.1160833333299</c:v>
                </c:pt>
                <c:pt idx="448">
                  <c:v>1981.62925</c:v>
                </c:pt>
                <c:pt idx="449">
                  <c:v>2265.6325000000002</c:v>
                </c:pt>
                <c:pt idx="450">
                  <c:v>2017.8668333333301</c:v>
                </c:pt>
                <c:pt idx="451">
                  <c:v>2272.4112083333298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899</c:v>
                </c:pt>
                <c:pt idx="455">
                  <c:v>2334.3259166666599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49999999</c:v>
                </c:pt>
                <c:pt idx="459">
                  <c:v>2079.96133333333</c:v>
                </c:pt>
                <c:pt idx="460">
                  <c:v>1869.9213749999999</c:v>
                </c:pt>
                <c:pt idx="461">
                  <c:v>2151.5065416666598</c:v>
                </c:pt>
                <c:pt idx="462">
                  <c:v>2009.3411249999999</c:v>
                </c:pt>
                <c:pt idx="463">
                  <c:v>2258.4755416666599</c:v>
                </c:pt>
                <c:pt idx="464">
                  <c:v>1953.2787083333301</c:v>
                </c:pt>
                <c:pt idx="465">
                  <c:v>2179.1737083333301</c:v>
                </c:pt>
                <c:pt idx="466">
                  <c:v>2002.07149999999</c:v>
                </c:pt>
                <c:pt idx="467">
                  <c:v>2190.5812083333299</c:v>
                </c:pt>
                <c:pt idx="468">
                  <c:v>2238.6494166666598</c:v>
                </c:pt>
                <c:pt idx="469">
                  <c:v>2101.758875</c:v>
                </c:pt>
                <c:pt idx="470">
                  <c:v>1744.8411249999899</c:v>
                </c:pt>
                <c:pt idx="471">
                  <c:v>1955.6636249999999</c:v>
                </c:pt>
                <c:pt idx="472">
                  <c:v>1709.34116666666</c:v>
                </c:pt>
                <c:pt idx="473">
                  <c:v>2090.6051666666599</c:v>
                </c:pt>
                <c:pt idx="474">
                  <c:v>1930.23291666666</c:v>
                </c:pt>
                <c:pt idx="475">
                  <c:v>2252.1495416666598</c:v>
                </c:pt>
                <c:pt idx="476">
                  <c:v>2025.5564999999999</c:v>
                </c:pt>
                <c:pt idx="477">
                  <c:v>2431.169875</c:v>
                </c:pt>
                <c:pt idx="478">
                  <c:v>1985.1439583333299</c:v>
                </c:pt>
                <c:pt idx="479">
                  <c:v>2232.0480416666601</c:v>
                </c:pt>
                <c:pt idx="480">
                  <c:v>2000.4889166666601</c:v>
                </c:pt>
                <c:pt idx="481">
                  <c:v>2244.6094583333302</c:v>
                </c:pt>
                <c:pt idx="482">
                  <c:v>1956.4982499999901</c:v>
                </c:pt>
                <c:pt idx="483">
                  <c:v>2234.6941666666598</c:v>
                </c:pt>
                <c:pt idx="484">
                  <c:v>1764.0211666666601</c:v>
                </c:pt>
                <c:pt idx="485">
                  <c:v>1984.9037083333301</c:v>
                </c:pt>
                <c:pt idx="486">
                  <c:v>2259.3434166666598</c:v>
                </c:pt>
                <c:pt idx="487">
                  <c:v>2360.6292916666598</c:v>
                </c:pt>
                <c:pt idx="488">
                  <c:v>1846.40777272727</c:v>
                </c:pt>
                <c:pt idx="489">
                  <c:v>2621.3647499999902</c:v>
                </c:pt>
                <c:pt idx="490">
                  <c:v>1922.99563636363</c:v>
                </c:pt>
                <c:pt idx="491">
                  <c:v>2474.1590833333298</c:v>
                </c:pt>
                <c:pt idx="492">
                  <c:v>2056.328</c:v>
                </c:pt>
                <c:pt idx="493">
                  <c:v>2567.8376250000001</c:v>
                </c:pt>
                <c:pt idx="494">
                  <c:v>2030.3805833333299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01</c:v>
                </c:pt>
                <c:pt idx="500">
                  <c:v>1934.8973333333299</c:v>
                </c:pt>
                <c:pt idx="501">
                  <c:v>2169.9367916666602</c:v>
                </c:pt>
                <c:pt idx="502">
                  <c:v>1909.34512499999</c:v>
                </c:pt>
                <c:pt idx="503">
                  <c:v>2149.7494166666602</c:v>
                </c:pt>
                <c:pt idx="504">
                  <c:v>1873.6608333333299</c:v>
                </c:pt>
                <c:pt idx="505">
                  <c:v>2116.88016666666</c:v>
                </c:pt>
                <c:pt idx="506">
                  <c:v>1699.7154166666601</c:v>
                </c:pt>
                <c:pt idx="507">
                  <c:v>2109.2648749999998</c:v>
                </c:pt>
                <c:pt idx="508">
                  <c:v>1848.3395416666599</c:v>
                </c:pt>
                <c:pt idx="509">
                  <c:v>2107.09733333333</c:v>
                </c:pt>
                <c:pt idx="510">
                  <c:v>2006.9661249999999</c:v>
                </c:pt>
                <c:pt idx="511">
                  <c:v>2248.7629999999999</c:v>
                </c:pt>
                <c:pt idx="512">
                  <c:v>1784.0219999999999</c:v>
                </c:pt>
                <c:pt idx="513">
                  <c:v>2240.7224999999999</c:v>
                </c:pt>
                <c:pt idx="514">
                  <c:v>1836.4853333333299</c:v>
                </c:pt>
                <c:pt idx="515">
                  <c:v>2042.4563333333299</c:v>
                </c:pt>
                <c:pt idx="516">
                  <c:v>2023.1317916666601</c:v>
                </c:pt>
                <c:pt idx="517">
                  <c:v>2365.6989999999901</c:v>
                </c:pt>
                <c:pt idx="518">
                  <c:v>2014.6587499999901</c:v>
                </c:pt>
                <c:pt idx="519">
                  <c:v>2307.1498749999901</c:v>
                </c:pt>
                <c:pt idx="520">
                  <c:v>2004.1671249999999</c:v>
                </c:pt>
                <c:pt idx="521">
                  <c:v>2271.43324999999</c:v>
                </c:pt>
                <c:pt idx="522">
                  <c:v>1920.9021250000001</c:v>
                </c:pt>
                <c:pt idx="523">
                  <c:v>2218.1039999999998</c:v>
                </c:pt>
                <c:pt idx="524">
                  <c:v>1970.1035833333301</c:v>
                </c:pt>
                <c:pt idx="525">
                  <c:v>2213.6470416666598</c:v>
                </c:pt>
                <c:pt idx="526">
                  <c:v>1732.7019583333299</c:v>
                </c:pt>
                <c:pt idx="527">
                  <c:v>1933.2025000000001</c:v>
                </c:pt>
                <c:pt idx="528">
                  <c:v>1784.0386999999901</c:v>
                </c:pt>
                <c:pt idx="529">
                  <c:v>2104.9902499999998</c:v>
                </c:pt>
                <c:pt idx="530">
                  <c:v>1969.7938125000001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49999999</c:v>
                </c:pt>
                <c:pt idx="534">
                  <c:v>1935.0042083333301</c:v>
                </c:pt>
                <c:pt idx="535">
                  <c:v>2156.9343749999998</c:v>
                </c:pt>
                <c:pt idx="536">
                  <c:v>1926.1875</c:v>
                </c:pt>
                <c:pt idx="537">
                  <c:v>2214.9516250000001</c:v>
                </c:pt>
                <c:pt idx="538">
                  <c:v>1951.0851250000001</c:v>
                </c:pt>
                <c:pt idx="539">
                  <c:v>2127.3627916666601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599</c:v>
                </c:pt>
                <c:pt idx="543">
                  <c:v>1989.90491666666</c:v>
                </c:pt>
                <c:pt idx="544">
                  <c:v>1684.1917083333301</c:v>
                </c:pt>
                <c:pt idx="545">
                  <c:v>1953.3324583333299</c:v>
                </c:pt>
                <c:pt idx="546">
                  <c:v>2007.6444999999901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01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599</c:v>
                </c:pt>
                <c:pt idx="554">
                  <c:v>2052.8806666666601</c:v>
                </c:pt>
                <c:pt idx="555">
                  <c:v>1989.07779166666</c:v>
                </c:pt>
                <c:pt idx="556">
                  <c:v>1942.3025416666601</c:v>
                </c:pt>
                <c:pt idx="557">
                  <c:v>2247.8567916666598</c:v>
                </c:pt>
                <c:pt idx="558">
                  <c:v>2029.9478749999901</c:v>
                </c:pt>
                <c:pt idx="559">
                  <c:v>2304.0392916666601</c:v>
                </c:pt>
                <c:pt idx="560">
                  <c:v>1755.5350416666599</c:v>
                </c:pt>
                <c:pt idx="561">
                  <c:v>2048.3871666666601</c:v>
                </c:pt>
                <c:pt idx="562">
                  <c:v>1943.12725</c:v>
                </c:pt>
                <c:pt idx="563">
                  <c:v>2243.9492500000001</c:v>
                </c:pt>
                <c:pt idx="564">
                  <c:v>1881.1257083333301</c:v>
                </c:pt>
                <c:pt idx="565">
                  <c:v>2096.1401249999999</c:v>
                </c:pt>
                <c:pt idx="566">
                  <c:v>1722.9338333333301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02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02</c:v>
                </c:pt>
                <c:pt idx="574">
                  <c:v>1832.39116666666</c:v>
                </c:pt>
                <c:pt idx="575">
                  <c:v>2099.4979583333302</c:v>
                </c:pt>
                <c:pt idx="576">
                  <c:v>1845.81924999999</c:v>
                </c:pt>
                <c:pt idx="577">
                  <c:v>2042.6991666666599</c:v>
                </c:pt>
                <c:pt idx="578">
                  <c:v>1838.79779166666</c:v>
                </c:pt>
                <c:pt idx="579">
                  <c:v>2088.8355833333299</c:v>
                </c:pt>
                <c:pt idx="580">
                  <c:v>1883.367125</c:v>
                </c:pt>
                <c:pt idx="581">
                  <c:v>2092.3713333333299</c:v>
                </c:pt>
                <c:pt idx="582">
                  <c:v>1741.1714999999999</c:v>
                </c:pt>
                <c:pt idx="583">
                  <c:v>2051.60645833333</c:v>
                </c:pt>
                <c:pt idx="584">
                  <c:v>1642.1816249999999</c:v>
                </c:pt>
                <c:pt idx="585">
                  <c:v>1924.9824166666599</c:v>
                </c:pt>
                <c:pt idx="586">
                  <c:v>1831.9275833333299</c:v>
                </c:pt>
                <c:pt idx="587">
                  <c:v>2062.1536249999999</c:v>
                </c:pt>
                <c:pt idx="588">
                  <c:v>1844.1833750000001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01</c:v>
                </c:pt>
                <c:pt idx="592">
                  <c:v>1819.0770833333299</c:v>
                </c:pt>
                <c:pt idx="593">
                  <c:v>2089.3340416666601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49999999</c:v>
                </c:pt>
                <c:pt idx="598">
                  <c:v>1591.99795833333</c:v>
                </c:pt>
                <c:pt idx="599">
                  <c:v>1926.1012499999999</c:v>
                </c:pt>
                <c:pt idx="600">
                  <c:v>1874.9264166666601</c:v>
                </c:pt>
                <c:pt idx="601">
                  <c:v>2207.3483333333302</c:v>
                </c:pt>
                <c:pt idx="602">
                  <c:v>1911.4361249999999</c:v>
                </c:pt>
                <c:pt idx="603">
                  <c:v>2309.9924166666601</c:v>
                </c:pt>
                <c:pt idx="604">
                  <c:v>1934.6754166666601</c:v>
                </c:pt>
                <c:pt idx="605">
                  <c:v>2446.9752916666598</c:v>
                </c:pt>
                <c:pt idx="606">
                  <c:v>1950.0437916666599</c:v>
                </c:pt>
                <c:pt idx="607">
                  <c:v>2245.5435833333299</c:v>
                </c:pt>
                <c:pt idx="608">
                  <c:v>2055.8892500000002</c:v>
                </c:pt>
                <c:pt idx="609">
                  <c:v>2244.6372500000002</c:v>
                </c:pt>
                <c:pt idx="610">
                  <c:v>2363.6295416666599</c:v>
                </c:pt>
                <c:pt idx="611">
                  <c:v>3211.5232499999902</c:v>
                </c:pt>
                <c:pt idx="612">
                  <c:v>2147.2688333333299</c:v>
                </c:pt>
                <c:pt idx="613">
                  <c:v>2340.14141666666</c:v>
                </c:pt>
                <c:pt idx="614">
                  <c:v>2180.6801249999999</c:v>
                </c:pt>
                <c:pt idx="615">
                  <c:v>2606.2606666666602</c:v>
                </c:pt>
                <c:pt idx="616">
                  <c:v>1593.28204166666</c:v>
                </c:pt>
                <c:pt idx="617">
                  <c:v>1816.4230833333299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298</c:v>
                </c:pt>
                <c:pt idx="622">
                  <c:v>1708.6217083333299</c:v>
                </c:pt>
                <c:pt idx="623">
                  <c:v>2016.7689583333299</c:v>
                </c:pt>
                <c:pt idx="624">
                  <c:v>1949.9066250000001</c:v>
                </c:pt>
                <c:pt idx="625">
                  <c:v>2290.6012500000002</c:v>
                </c:pt>
                <c:pt idx="626">
                  <c:v>1880.72729166666</c:v>
                </c:pt>
                <c:pt idx="627">
                  <c:v>2154.9060416666598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299</c:v>
                </c:pt>
                <c:pt idx="631">
                  <c:v>2574.9333750000001</c:v>
                </c:pt>
                <c:pt idx="632">
                  <c:v>1838.4179166666599</c:v>
                </c:pt>
                <c:pt idx="633">
                  <c:v>2156.3199583333299</c:v>
                </c:pt>
                <c:pt idx="634">
                  <c:v>1879.3218749999901</c:v>
                </c:pt>
                <c:pt idx="635">
                  <c:v>2407.2310416666601</c:v>
                </c:pt>
                <c:pt idx="636">
                  <c:v>1984.76958333333</c:v>
                </c:pt>
                <c:pt idx="637">
                  <c:v>2474.5342083333298</c:v>
                </c:pt>
                <c:pt idx="638">
                  <c:v>1896.93095833333</c:v>
                </c:pt>
                <c:pt idx="639">
                  <c:v>2473.4072916666601</c:v>
                </c:pt>
                <c:pt idx="640">
                  <c:v>1830.4516249999999</c:v>
                </c:pt>
                <c:pt idx="641">
                  <c:v>2146.0133333333301</c:v>
                </c:pt>
                <c:pt idx="642">
                  <c:v>1967.22974999999</c:v>
                </c:pt>
                <c:pt idx="643">
                  <c:v>2182.4940000000001</c:v>
                </c:pt>
                <c:pt idx="644">
                  <c:v>1929.8937777777701</c:v>
                </c:pt>
                <c:pt idx="645">
                  <c:v>2045.6363636363601</c:v>
                </c:pt>
                <c:pt idx="646">
                  <c:v>1880.0908571428499</c:v>
                </c:pt>
                <c:pt idx="647">
                  <c:v>2085.9897500000002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598</c:v>
                </c:pt>
                <c:pt idx="652">
                  <c:v>1722.6105</c:v>
                </c:pt>
                <c:pt idx="653">
                  <c:v>2026.1913750000001</c:v>
                </c:pt>
                <c:pt idx="654">
                  <c:v>1621.5212916666601</c:v>
                </c:pt>
                <c:pt idx="655">
                  <c:v>1833.5901249999999</c:v>
                </c:pt>
                <c:pt idx="656">
                  <c:v>1763.4928749999999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598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599</c:v>
                </c:pt>
                <c:pt idx="664">
                  <c:v>2020.8008749999999</c:v>
                </c:pt>
                <c:pt idx="665">
                  <c:v>2143.7741666666602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299</c:v>
                </c:pt>
                <c:pt idx="669">
                  <c:v>2407.5522083333299</c:v>
                </c:pt>
                <c:pt idx="670">
                  <c:v>2557.52991666666</c:v>
                </c:pt>
                <c:pt idx="671">
                  <c:v>3343.2067916666601</c:v>
                </c:pt>
                <c:pt idx="672">
                  <c:v>1855.5550416666599</c:v>
                </c:pt>
                <c:pt idx="673">
                  <c:v>2107.1355416666602</c:v>
                </c:pt>
                <c:pt idx="674">
                  <c:v>2148.7616249999901</c:v>
                </c:pt>
                <c:pt idx="675">
                  <c:v>2362.4044583333298</c:v>
                </c:pt>
                <c:pt idx="676">
                  <c:v>1645.9032999999999</c:v>
                </c:pt>
                <c:pt idx="677">
                  <c:v>1852.95022727272</c:v>
                </c:pt>
                <c:pt idx="678">
                  <c:v>2100.8144499999999</c:v>
                </c:pt>
                <c:pt idx="679">
                  <c:v>2257.8534999999902</c:v>
                </c:pt>
                <c:pt idx="680">
                  <c:v>2056.5866249999999</c:v>
                </c:pt>
                <c:pt idx="681">
                  <c:v>2275.6061666666601</c:v>
                </c:pt>
                <c:pt idx="682">
                  <c:v>1961.3328750000001</c:v>
                </c:pt>
                <c:pt idx="683">
                  <c:v>2277.7167083333302</c:v>
                </c:pt>
                <c:pt idx="684">
                  <c:v>1943.82499999999</c:v>
                </c:pt>
                <c:pt idx="685">
                  <c:v>2235.0515416666599</c:v>
                </c:pt>
                <c:pt idx="686">
                  <c:v>1723.949625</c:v>
                </c:pt>
                <c:pt idx="687">
                  <c:v>1901.2469166666599</c:v>
                </c:pt>
                <c:pt idx="688">
                  <c:v>1893.2130833333299</c:v>
                </c:pt>
                <c:pt idx="689">
                  <c:v>2235.2352083333299</c:v>
                </c:pt>
                <c:pt idx="690">
                  <c:v>2172.7842083333298</c:v>
                </c:pt>
                <c:pt idx="691">
                  <c:v>2876.3842499999901</c:v>
                </c:pt>
                <c:pt idx="692">
                  <c:v>2270.6802499999999</c:v>
                </c:pt>
                <c:pt idx="693">
                  <c:v>3024.1334583333301</c:v>
                </c:pt>
                <c:pt idx="694">
                  <c:v>2140.97379166666</c:v>
                </c:pt>
                <c:pt idx="695">
                  <c:v>2883.3863333333302</c:v>
                </c:pt>
                <c:pt idx="696">
                  <c:v>2117.8012916666598</c:v>
                </c:pt>
                <c:pt idx="697">
                  <c:v>2926.3967916666602</c:v>
                </c:pt>
                <c:pt idx="698">
                  <c:v>2367.2226249999999</c:v>
                </c:pt>
                <c:pt idx="699">
                  <c:v>3195.3001250000002</c:v>
                </c:pt>
                <c:pt idx="700">
                  <c:v>2338.9344166666601</c:v>
                </c:pt>
                <c:pt idx="701">
                  <c:v>2643.5017916666602</c:v>
                </c:pt>
                <c:pt idx="702">
                  <c:v>2096.2074166666598</c:v>
                </c:pt>
                <c:pt idx="703">
                  <c:v>2410.1449583333301</c:v>
                </c:pt>
                <c:pt idx="704">
                  <c:v>2059.38004166666</c:v>
                </c:pt>
                <c:pt idx="705">
                  <c:v>2394.1077500000001</c:v>
                </c:pt>
                <c:pt idx="706">
                  <c:v>1972.1649583333301</c:v>
                </c:pt>
                <c:pt idx="707">
                  <c:v>2230.0864999999999</c:v>
                </c:pt>
                <c:pt idx="708">
                  <c:v>1787.87870833333</c:v>
                </c:pt>
                <c:pt idx="709">
                  <c:v>1997.3041250000001</c:v>
                </c:pt>
                <c:pt idx="710">
                  <c:v>1729.9509166666601</c:v>
                </c:pt>
                <c:pt idx="711">
                  <c:v>2047.0395000000001</c:v>
                </c:pt>
                <c:pt idx="712">
                  <c:v>1953.6437083333301</c:v>
                </c:pt>
                <c:pt idx="713">
                  <c:v>2451.7428749999999</c:v>
                </c:pt>
                <c:pt idx="714">
                  <c:v>1992.5728749999901</c:v>
                </c:pt>
                <c:pt idx="715">
                  <c:v>2288.7292499999999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299</c:v>
                </c:pt>
                <c:pt idx="721">
                  <c:v>2160.0101249999998</c:v>
                </c:pt>
                <c:pt idx="722">
                  <c:v>1749.8718636363601</c:v>
                </c:pt>
                <c:pt idx="723">
                  <c:v>2125.4543749999998</c:v>
                </c:pt>
                <c:pt idx="724">
                  <c:v>1779.80779166666</c:v>
                </c:pt>
                <c:pt idx="725">
                  <c:v>2286.2164166666598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01</c:v>
                </c:pt>
                <c:pt idx="729">
                  <c:v>2134.0819999999999</c:v>
                </c:pt>
                <c:pt idx="730">
                  <c:v>2814.7105606124901</c:v>
                </c:pt>
                <c:pt idx="731">
                  <c:v>2820.15931286666</c:v>
                </c:pt>
                <c:pt idx="732">
                  <c:v>2147.3532233291598</c:v>
                </c:pt>
                <c:pt idx="733">
                  <c:v>2545.3108069374898</c:v>
                </c:pt>
                <c:pt idx="734">
                  <c:v>2222.4136193208301</c:v>
                </c:pt>
                <c:pt idx="735">
                  <c:v>2257.3158007708298</c:v>
                </c:pt>
                <c:pt idx="736">
                  <c:v>2032.198344465</c:v>
                </c:pt>
                <c:pt idx="737">
                  <c:v>2117.8163037374902</c:v>
                </c:pt>
                <c:pt idx="738">
                  <c:v>1881.9500175666601</c:v>
                </c:pt>
                <c:pt idx="739">
                  <c:v>2576.3438875909001</c:v>
                </c:pt>
                <c:pt idx="740">
                  <c:v>2044.66478628499</c:v>
                </c:pt>
                <c:pt idx="741">
                  <c:v>2868.9563182708298</c:v>
                </c:pt>
                <c:pt idx="742">
                  <c:v>2472.6334011958302</c:v>
                </c:pt>
                <c:pt idx="743">
                  <c:v>3299.9393580708202</c:v>
                </c:pt>
                <c:pt idx="744">
                  <c:v>2786.5475998083298</c:v>
                </c:pt>
                <c:pt idx="745">
                  <c:v>3225.7517746541598</c:v>
                </c:pt>
                <c:pt idx="746">
                  <c:v>2425.1360756541599</c:v>
                </c:pt>
                <c:pt idx="747">
                  <c:v>2401.8058121333302</c:v>
                </c:pt>
                <c:pt idx="748">
                  <c:v>2113.5125400799898</c:v>
                </c:pt>
                <c:pt idx="749">
                  <c:v>2433.3480168166602</c:v>
                </c:pt>
                <c:pt idx="750">
                  <c:v>2189.0438997312399</c:v>
                </c:pt>
                <c:pt idx="751">
                  <c:v>2483.5657340083299</c:v>
                </c:pt>
                <c:pt idx="752">
                  <c:v>1896.0243473666601</c:v>
                </c:pt>
                <c:pt idx="753">
                  <c:v>2615.8735382874902</c:v>
                </c:pt>
                <c:pt idx="754">
                  <c:v>1992.70477325416</c:v>
                </c:pt>
                <c:pt idx="755">
                  <c:v>2387.7880464916602</c:v>
                </c:pt>
                <c:pt idx="756">
                  <c:v>2358.34048073333</c:v>
                </c:pt>
                <c:pt idx="757">
                  <c:v>3340.70503213333</c:v>
                </c:pt>
                <c:pt idx="758">
                  <c:v>2842.3093060374899</c:v>
                </c:pt>
                <c:pt idx="759">
                  <c:v>3250.4874035166599</c:v>
                </c:pt>
                <c:pt idx="760">
                  <c:v>2453.1961141708298</c:v>
                </c:pt>
                <c:pt idx="761">
                  <c:v>2536.4750736916599</c:v>
                </c:pt>
                <c:pt idx="762">
                  <c:v>1958.7403593583299</c:v>
                </c:pt>
                <c:pt idx="763">
                  <c:v>2217.7377323208302</c:v>
                </c:pt>
                <c:pt idx="764">
                  <c:v>2035.5217133875001</c:v>
                </c:pt>
                <c:pt idx="765">
                  <c:v>2450.3480851874901</c:v>
                </c:pt>
                <c:pt idx="766">
                  <c:v>1864.6022638714201</c:v>
                </c:pt>
                <c:pt idx="767">
                  <c:v>2278.1295495916602</c:v>
                </c:pt>
                <c:pt idx="768">
                  <c:v>1924.9605551166601</c:v>
                </c:pt>
                <c:pt idx="769">
                  <c:v>2560.8750446249901</c:v>
                </c:pt>
                <c:pt idx="770">
                  <c:v>2127.80860193749</c:v>
                </c:pt>
                <c:pt idx="771">
                  <c:v>2746.1296072416599</c:v>
                </c:pt>
                <c:pt idx="772">
                  <c:v>2140.0864342166601</c:v>
                </c:pt>
                <c:pt idx="773">
                  <c:v>2651.1279091166598</c:v>
                </c:pt>
                <c:pt idx="774">
                  <c:v>2198.8909038583301</c:v>
                </c:pt>
                <c:pt idx="775">
                  <c:v>2598.18044052499</c:v>
                </c:pt>
                <c:pt idx="776">
                  <c:v>2166.8205700090898</c:v>
                </c:pt>
                <c:pt idx="777">
                  <c:v>2420.47367987499</c:v>
                </c:pt>
                <c:pt idx="778">
                  <c:v>2104.8423878291601</c:v>
                </c:pt>
                <c:pt idx="779">
                  <c:v>2301.0493781833302</c:v>
                </c:pt>
                <c:pt idx="780">
                  <c:v>2010.89693983749</c:v>
                </c:pt>
                <c:pt idx="781">
                  <c:v>2440.1286881583301</c:v>
                </c:pt>
                <c:pt idx="782">
                  <c:v>1872.7888722083301</c:v>
                </c:pt>
                <c:pt idx="783">
                  <c:v>2702.8843677749901</c:v>
                </c:pt>
                <c:pt idx="784">
                  <c:v>1862.09098722916</c:v>
                </c:pt>
                <c:pt idx="785">
                  <c:v>2301.8307151874901</c:v>
                </c:pt>
                <c:pt idx="786">
                  <c:v>2141.2100704499899</c:v>
                </c:pt>
                <c:pt idx="787">
                  <c:v>2542.9754542625001</c:v>
                </c:pt>
                <c:pt idx="788">
                  <c:v>2141.6758152541602</c:v>
                </c:pt>
                <c:pt idx="789">
                  <c:v>2821.5852816249899</c:v>
                </c:pt>
                <c:pt idx="790">
                  <c:v>2121.2677979249902</c:v>
                </c:pt>
                <c:pt idx="791">
                  <c:v>2725.2631981750001</c:v>
                </c:pt>
                <c:pt idx="792">
                  <c:v>2168.7831825916601</c:v>
                </c:pt>
                <c:pt idx="793">
                  <c:v>2961.5898729458299</c:v>
                </c:pt>
                <c:pt idx="794">
                  <c:v>2059.6434400374901</c:v>
                </c:pt>
                <c:pt idx="795">
                  <c:v>2915.94190402499</c:v>
                </c:pt>
                <c:pt idx="796">
                  <c:v>2074.9507374291602</c:v>
                </c:pt>
                <c:pt idx="797">
                  <c:v>2840.1388558458302</c:v>
                </c:pt>
                <c:pt idx="798">
                  <c:v>2336.1864341833302</c:v>
                </c:pt>
                <c:pt idx="799">
                  <c:v>2795.9823378666601</c:v>
                </c:pt>
                <c:pt idx="800">
                  <c:v>2203.7443846374899</c:v>
                </c:pt>
                <c:pt idx="801">
                  <c:v>2514.4400851124901</c:v>
                </c:pt>
                <c:pt idx="802">
                  <c:v>2254.8362323375</c:v>
                </c:pt>
                <c:pt idx="803">
                  <c:v>2369.5948363374901</c:v>
                </c:pt>
                <c:pt idx="804">
                  <c:v>1974.18200617916</c:v>
                </c:pt>
                <c:pt idx="805">
                  <c:v>2271.7791866166599</c:v>
                </c:pt>
                <c:pt idx="806">
                  <c:v>2014.2160829833299</c:v>
                </c:pt>
                <c:pt idx="807">
                  <c:v>2596.5701936458299</c:v>
                </c:pt>
                <c:pt idx="808">
                  <c:v>1867.4815676363601</c:v>
                </c:pt>
                <c:pt idx="809">
                  <c:v>2828.9775346166598</c:v>
                </c:pt>
                <c:pt idx="810">
                  <c:v>1994.4438366499901</c:v>
                </c:pt>
                <c:pt idx="811">
                  <c:v>2926.1708955250001</c:v>
                </c:pt>
                <c:pt idx="812">
                  <c:v>2554.6178627291602</c:v>
                </c:pt>
                <c:pt idx="813">
                  <c:v>3236.4869237541602</c:v>
                </c:pt>
                <c:pt idx="814">
                  <c:v>2762.5157089416598</c:v>
                </c:pt>
                <c:pt idx="815">
                  <c:v>3531.5317287999901</c:v>
                </c:pt>
                <c:pt idx="816">
                  <c:v>2745.1802333625001</c:v>
                </c:pt>
                <c:pt idx="817">
                  <c:v>3355.4509319083299</c:v>
                </c:pt>
                <c:pt idx="818">
                  <c:v>2603.7976719583298</c:v>
                </c:pt>
                <c:pt idx="819">
                  <c:v>2861.9960459624899</c:v>
                </c:pt>
                <c:pt idx="820">
                  <c:v>2363.6217625333302</c:v>
                </c:pt>
                <c:pt idx="821">
                  <c:v>2935.9480111624898</c:v>
                </c:pt>
                <c:pt idx="822">
                  <c:v>2179.3191565458301</c:v>
                </c:pt>
                <c:pt idx="823">
                  <c:v>2726.05105495833</c:v>
                </c:pt>
                <c:pt idx="824">
                  <c:v>1942.2621511416601</c:v>
                </c:pt>
                <c:pt idx="825">
                  <c:v>2233.6403290041599</c:v>
                </c:pt>
                <c:pt idx="826">
                  <c:v>2017.2257905399899</c:v>
                </c:pt>
                <c:pt idx="827">
                  <c:v>2359.1199209874899</c:v>
                </c:pt>
                <c:pt idx="828">
                  <c:v>2334.5526278249999</c:v>
                </c:pt>
                <c:pt idx="829">
                  <c:v>2805.6281315333299</c:v>
                </c:pt>
                <c:pt idx="830">
                  <c:v>2303.4694622749898</c:v>
                </c:pt>
                <c:pt idx="831">
                  <c:v>3590.6828627166601</c:v>
                </c:pt>
                <c:pt idx="832">
                  <c:v>2704.1649466458298</c:v>
                </c:pt>
                <c:pt idx="833">
                  <c:v>3365.87835465833</c:v>
                </c:pt>
                <c:pt idx="834">
                  <c:v>2625.0986705750001</c:v>
                </c:pt>
                <c:pt idx="835">
                  <c:v>2556.60953337916</c:v>
                </c:pt>
                <c:pt idx="836">
                  <c:v>1823.0696327749899</c:v>
                </c:pt>
                <c:pt idx="837">
                  <c:v>2037.7230165041599</c:v>
                </c:pt>
                <c:pt idx="838">
                  <c:v>1722.8896464541599</c:v>
                </c:pt>
                <c:pt idx="839">
                  <c:v>2063.51221467083</c:v>
                </c:pt>
                <c:pt idx="840">
                  <c:v>2069.9034216374898</c:v>
                </c:pt>
                <c:pt idx="841">
                  <c:v>2923.37536639583</c:v>
                </c:pt>
                <c:pt idx="842">
                  <c:v>2277.0611217166602</c:v>
                </c:pt>
                <c:pt idx="843">
                  <c:v>3388.0708861041599</c:v>
                </c:pt>
                <c:pt idx="844">
                  <c:v>2553.06626393333</c:v>
                </c:pt>
                <c:pt idx="845">
                  <c:v>3123.8353176083301</c:v>
                </c:pt>
                <c:pt idx="846">
                  <c:v>2302.3936510291601</c:v>
                </c:pt>
                <c:pt idx="847">
                  <c:v>2913.6543985708299</c:v>
                </c:pt>
                <c:pt idx="848">
                  <c:v>2279.9175524666598</c:v>
                </c:pt>
                <c:pt idx="849">
                  <c:v>2813.4237973208301</c:v>
                </c:pt>
                <c:pt idx="850">
                  <c:v>1968.99549426666</c:v>
                </c:pt>
                <c:pt idx="851">
                  <c:v>2389.08068954583</c:v>
                </c:pt>
                <c:pt idx="852">
                  <c:v>1789.86981436666</c:v>
                </c:pt>
                <c:pt idx="853">
                  <c:v>2359.7180916666598</c:v>
                </c:pt>
                <c:pt idx="854">
                  <c:v>2029.4388739291601</c:v>
                </c:pt>
                <c:pt idx="855">
                  <c:v>2184.9103650041602</c:v>
                </c:pt>
                <c:pt idx="856">
                  <c:v>2196.38929249999</c:v>
                </c:pt>
                <c:pt idx="857">
                  <c:v>2432.6821969624998</c:v>
                </c:pt>
                <c:pt idx="858">
                  <c:v>2011.3950495611</c:v>
                </c:pt>
                <c:pt idx="859">
                  <c:v>2633.6015288999902</c:v>
                </c:pt>
                <c:pt idx="860">
                  <c:v>2200.4233423099899</c:v>
                </c:pt>
                <c:pt idx="861">
                  <c:v>2618.3027622916602</c:v>
                </c:pt>
                <c:pt idx="862">
                  <c:v>2180.1996981277698</c:v>
                </c:pt>
                <c:pt idx="863">
                  <c:v>2672.35888205833</c:v>
                </c:pt>
                <c:pt idx="864">
                  <c:v>2004.5064299727201</c:v>
                </c:pt>
                <c:pt idx="865">
                  <c:v>2614.9927077249899</c:v>
                </c:pt>
                <c:pt idx="866">
                  <c:v>2097.69024651666</c:v>
                </c:pt>
                <c:pt idx="867">
                  <c:v>2409.2647808500001</c:v>
                </c:pt>
                <c:pt idx="868">
                  <c:v>2208.2178144750001</c:v>
                </c:pt>
                <c:pt idx="869">
                  <c:v>2481.62320262916</c:v>
                </c:pt>
                <c:pt idx="870">
                  <c:v>1865.7514559624899</c:v>
                </c:pt>
                <c:pt idx="871">
                  <c:v>2161.9760966541598</c:v>
                </c:pt>
                <c:pt idx="872">
                  <c:v>2059.1577108863598</c:v>
                </c:pt>
                <c:pt idx="873">
                  <c:v>2244.5299330875</c:v>
                </c:pt>
                <c:pt idx="874">
                  <c:v>2290.24188112499</c:v>
                </c:pt>
                <c:pt idx="875">
                  <c:v>2529.3986842363602</c:v>
                </c:pt>
                <c:pt idx="876">
                  <c:v>2028.51025856499</c:v>
                </c:pt>
                <c:pt idx="877">
                  <c:v>2377.9403508958299</c:v>
                </c:pt>
                <c:pt idx="878">
                  <c:v>1952.47576309285</c:v>
                </c:pt>
                <c:pt idx="879">
                  <c:v>2220.3295659833302</c:v>
                </c:pt>
                <c:pt idx="880">
                  <c:v>1874.4952763250001</c:v>
                </c:pt>
                <c:pt idx="881">
                  <c:v>2408.1716978958302</c:v>
                </c:pt>
                <c:pt idx="882">
                  <c:v>2348.2187846291599</c:v>
                </c:pt>
                <c:pt idx="883">
                  <c:v>2781.20463690833</c:v>
                </c:pt>
                <c:pt idx="884">
                  <c:v>2134.7472275291602</c:v>
                </c:pt>
                <c:pt idx="885">
                  <c:v>2486.2344025124899</c:v>
                </c:pt>
                <c:pt idx="886">
                  <c:v>2081.8465858208301</c:v>
                </c:pt>
                <c:pt idx="887">
                  <c:v>2492.7292517333299</c:v>
                </c:pt>
                <c:pt idx="888">
                  <c:v>2041.2911814045401</c:v>
                </c:pt>
                <c:pt idx="889">
                  <c:v>2261.4539451958299</c:v>
                </c:pt>
                <c:pt idx="890">
                  <c:v>2236.3815262166599</c:v>
                </c:pt>
                <c:pt idx="891">
                  <c:v>2294.4026380458299</c:v>
                </c:pt>
                <c:pt idx="892">
                  <c:v>1918.97782055624</c:v>
                </c:pt>
                <c:pt idx="893">
                  <c:v>2049.31759405499</c:v>
                </c:pt>
                <c:pt idx="894">
                  <c:v>1942.2035167500001</c:v>
                </c:pt>
                <c:pt idx="895">
                  <c:v>2079.3220612045402</c:v>
                </c:pt>
                <c:pt idx="896">
                  <c:v>2228.21130526874</c:v>
                </c:pt>
                <c:pt idx="897">
                  <c:v>2356.6979502374902</c:v>
                </c:pt>
                <c:pt idx="898">
                  <c:v>2131.2112628357099</c:v>
                </c:pt>
                <c:pt idx="899">
                  <c:v>2234.2020854749899</c:v>
                </c:pt>
                <c:pt idx="900">
                  <c:v>1989.2252733749899</c:v>
                </c:pt>
                <c:pt idx="901">
                  <c:v>2125.4146722874898</c:v>
                </c:pt>
                <c:pt idx="902">
                  <c:v>2170.7718819333199</c:v>
                </c:pt>
                <c:pt idx="903">
                  <c:v>2196.29722014444</c:v>
                </c:pt>
                <c:pt idx="904">
                  <c:v>1865.2321135875</c:v>
                </c:pt>
                <c:pt idx="905">
                  <c:v>1895.44555601666</c:v>
                </c:pt>
                <c:pt idx="906">
                  <c:v>1872.2638883899899</c:v>
                </c:pt>
                <c:pt idx="907">
                  <c:v>2022.95829487777</c:v>
                </c:pt>
                <c:pt idx="908">
                  <c:v>1790.18647413333</c:v>
                </c:pt>
                <c:pt idx="909">
                  <c:v>2015.71379709999</c:v>
                </c:pt>
                <c:pt idx="910">
                  <c:v>2113.80004124999</c:v>
                </c:pt>
                <c:pt idx="911">
                  <c:v>2426.57113838636</c:v>
                </c:pt>
                <c:pt idx="912">
                  <c:v>2448.2077285999999</c:v>
                </c:pt>
                <c:pt idx="913">
                  <c:v>2647.5638321749898</c:v>
                </c:pt>
                <c:pt idx="914">
                  <c:v>2236.15374529583</c:v>
                </c:pt>
                <c:pt idx="915">
                  <c:v>2960.3368238749899</c:v>
                </c:pt>
                <c:pt idx="916">
                  <c:v>2407.5297075374901</c:v>
                </c:pt>
                <c:pt idx="917">
                  <c:v>3090.4349697999901</c:v>
                </c:pt>
                <c:pt idx="918">
                  <c:v>2288.5196504999899</c:v>
                </c:pt>
                <c:pt idx="919">
                  <c:v>2693.8758898999899</c:v>
                </c:pt>
                <c:pt idx="920">
                  <c:v>2206.7949992642798</c:v>
                </c:pt>
                <c:pt idx="921">
                  <c:v>2365.86784169166</c:v>
                </c:pt>
                <c:pt idx="922">
                  <c:v>2131.5617423333301</c:v>
                </c:pt>
                <c:pt idx="923">
                  <c:v>2359.2976642333301</c:v>
                </c:pt>
                <c:pt idx="924">
                  <c:v>2337.9500703833301</c:v>
                </c:pt>
                <c:pt idx="925">
                  <c:v>2912.4833422541601</c:v>
                </c:pt>
                <c:pt idx="926">
                  <c:v>2295.36409883333</c:v>
                </c:pt>
                <c:pt idx="927">
                  <c:v>2958.7262230958299</c:v>
                </c:pt>
                <c:pt idx="928">
                  <c:v>2372.2789152708301</c:v>
                </c:pt>
                <c:pt idx="929">
                  <c:v>2944.1665049916601</c:v>
                </c:pt>
                <c:pt idx="930">
                  <c:v>2434.2545983291602</c:v>
                </c:pt>
                <c:pt idx="931">
                  <c:v>2856.5136013041601</c:v>
                </c:pt>
                <c:pt idx="932">
                  <c:v>2476.64930895833</c:v>
                </c:pt>
                <c:pt idx="933">
                  <c:v>2751.0332943083299</c:v>
                </c:pt>
                <c:pt idx="934">
                  <c:v>2073.3610607041601</c:v>
                </c:pt>
                <c:pt idx="935">
                  <c:v>2334.1648400416602</c:v>
                </c:pt>
                <c:pt idx="936">
                  <c:v>2055.7750104791598</c:v>
                </c:pt>
                <c:pt idx="937">
                  <c:v>2477.5667578541602</c:v>
                </c:pt>
                <c:pt idx="938">
                  <c:v>2201.8428448958298</c:v>
                </c:pt>
                <c:pt idx="939">
                  <c:v>2783.7458944458299</c:v>
                </c:pt>
                <c:pt idx="940">
                  <c:v>2191.43477437916</c:v>
                </c:pt>
                <c:pt idx="941">
                  <c:v>2736.8444697791601</c:v>
                </c:pt>
                <c:pt idx="942">
                  <c:v>2292.4584675374999</c:v>
                </c:pt>
                <c:pt idx="943">
                  <c:v>2600.28185396249</c:v>
                </c:pt>
                <c:pt idx="944">
                  <c:v>2238.1594617291598</c:v>
                </c:pt>
                <c:pt idx="945">
                  <c:v>2570.20604453333</c:v>
                </c:pt>
                <c:pt idx="946">
                  <c:v>2178.1450835374999</c:v>
                </c:pt>
                <c:pt idx="947">
                  <c:v>2458.4068403333299</c:v>
                </c:pt>
                <c:pt idx="948">
                  <c:v>1947.3650472541599</c:v>
                </c:pt>
                <c:pt idx="949">
                  <c:v>2177.5841689416602</c:v>
                </c:pt>
                <c:pt idx="950">
                  <c:v>1923.60790184999</c:v>
                </c:pt>
                <c:pt idx="951">
                  <c:v>2084.3268327874898</c:v>
                </c:pt>
                <c:pt idx="952">
                  <c:v>2178.3010684624901</c:v>
                </c:pt>
                <c:pt idx="953">
                  <c:v>2342.1035759041602</c:v>
                </c:pt>
                <c:pt idx="954">
                  <c:v>1986.8119818208299</c:v>
                </c:pt>
                <c:pt idx="955">
                  <c:v>2492.27483820416</c:v>
                </c:pt>
                <c:pt idx="956">
                  <c:v>2011.5389245375</c:v>
                </c:pt>
                <c:pt idx="957">
                  <c:v>2541.34914761666</c:v>
                </c:pt>
                <c:pt idx="958">
                  <c:v>1869.39257215833</c:v>
                </c:pt>
                <c:pt idx="959">
                  <c:v>2113.9166695624899</c:v>
                </c:pt>
                <c:pt idx="960">
                  <c:v>2041.3888132874899</c:v>
                </c:pt>
                <c:pt idx="961">
                  <c:v>2392.579391925</c:v>
                </c:pt>
                <c:pt idx="962">
                  <c:v>1847.6206024749899</c:v>
                </c:pt>
                <c:pt idx="963">
                  <c:v>2103.7799291791598</c:v>
                </c:pt>
                <c:pt idx="964">
                  <c:v>1684.3235995374901</c:v>
                </c:pt>
                <c:pt idx="965">
                  <c:v>2057.4672101124902</c:v>
                </c:pt>
                <c:pt idx="966">
                  <c:v>2173.1531144277701</c:v>
                </c:pt>
                <c:pt idx="967">
                  <c:v>2380.5147788583299</c:v>
                </c:pt>
                <c:pt idx="968">
                  <c:v>2278.7772955714199</c:v>
                </c:pt>
                <c:pt idx="969">
                  <c:v>2434.3405128333302</c:v>
                </c:pt>
                <c:pt idx="970">
                  <c:v>2006.54166748749</c:v>
                </c:pt>
                <c:pt idx="971">
                  <c:v>2714.09375346363</c:v>
                </c:pt>
                <c:pt idx="972">
                  <c:v>2391.99487152856</c:v>
                </c:pt>
                <c:pt idx="973">
                  <c:v>2329.3039084624902</c:v>
                </c:pt>
                <c:pt idx="974">
                  <c:v>2077.1218812541601</c:v>
                </c:pt>
                <c:pt idx="975">
                  <c:v>2290.5947934124902</c:v>
                </c:pt>
                <c:pt idx="976">
                  <c:v>1952.5976356333299</c:v>
                </c:pt>
                <c:pt idx="977">
                  <c:v>2205.2421286318099</c:v>
                </c:pt>
                <c:pt idx="978">
                  <c:v>1820.63976945833</c:v>
                </c:pt>
                <c:pt idx="979">
                  <c:v>1949.2376995124901</c:v>
                </c:pt>
                <c:pt idx="980">
                  <c:v>2011.5588322041599</c:v>
                </c:pt>
                <c:pt idx="981">
                  <c:v>2407.8819831791602</c:v>
                </c:pt>
                <c:pt idx="982">
                  <c:v>2108.0878239458302</c:v>
                </c:pt>
                <c:pt idx="983">
                  <c:v>2425.3941229549901</c:v>
                </c:pt>
                <c:pt idx="984">
                  <c:v>2276.4651883285601</c:v>
                </c:pt>
                <c:pt idx="985">
                  <c:v>2385.3081387208299</c:v>
                </c:pt>
                <c:pt idx="986">
                  <c:v>2207.3602180749999</c:v>
                </c:pt>
                <c:pt idx="987">
                  <c:v>2288.4663373499902</c:v>
                </c:pt>
                <c:pt idx="988">
                  <c:v>2266.71607263332</c:v>
                </c:pt>
                <c:pt idx="989">
                  <c:v>2149.3511236791601</c:v>
                </c:pt>
                <c:pt idx="990">
                  <c:v>1762.31032626666</c:v>
                </c:pt>
                <c:pt idx="991">
                  <c:v>2091.57613969166</c:v>
                </c:pt>
                <c:pt idx="992">
                  <c:v>1767.7216455299899</c:v>
                </c:pt>
                <c:pt idx="993">
                  <c:v>2194.2849347363599</c:v>
                </c:pt>
                <c:pt idx="994">
                  <c:v>2256.8843618562501</c:v>
                </c:pt>
                <c:pt idx="995">
                  <c:v>2440.1407365749901</c:v>
                </c:pt>
                <c:pt idx="996">
                  <c:v>2054.2260679208298</c:v>
                </c:pt>
                <c:pt idx="997">
                  <c:v>2363.7651461291598</c:v>
                </c:pt>
                <c:pt idx="998">
                  <c:v>2197.8695865333302</c:v>
                </c:pt>
                <c:pt idx="999">
                  <c:v>2418.2252856916598</c:v>
                </c:pt>
                <c:pt idx="1000">
                  <c:v>2219.37749874375</c:v>
                </c:pt>
                <c:pt idx="1001">
                  <c:v>2426.06493250416</c:v>
                </c:pt>
                <c:pt idx="1002">
                  <c:v>2061.1680646954501</c:v>
                </c:pt>
                <c:pt idx="1003">
                  <c:v>2398.4183871208202</c:v>
                </c:pt>
                <c:pt idx="1004">
                  <c:v>1932.5191484818099</c:v>
                </c:pt>
                <c:pt idx="1005">
                  <c:v>2209.34832387499</c:v>
                </c:pt>
                <c:pt idx="1006">
                  <c:v>1804.0047631083301</c:v>
                </c:pt>
                <c:pt idx="1007">
                  <c:v>2239.4996949791598</c:v>
                </c:pt>
                <c:pt idx="1008">
                  <c:v>2215.2909385708299</c:v>
                </c:pt>
                <c:pt idx="1009">
                  <c:v>2526.5955351749899</c:v>
                </c:pt>
                <c:pt idx="1010">
                  <c:v>2102.5246024374901</c:v>
                </c:pt>
                <c:pt idx="1011">
                  <c:v>2350.89282996666</c:v>
                </c:pt>
                <c:pt idx="1012">
                  <c:v>2121.1059986833302</c:v>
                </c:pt>
                <c:pt idx="1013">
                  <c:v>2473.74528315416</c:v>
                </c:pt>
                <c:pt idx="1014">
                  <c:v>2153.7002823791599</c:v>
                </c:pt>
                <c:pt idx="1015">
                  <c:v>2502.3010268374901</c:v>
                </c:pt>
                <c:pt idx="1016">
                  <c:v>2305.6693803666599</c:v>
                </c:pt>
                <c:pt idx="1017">
                  <c:v>2412.1884145583299</c:v>
                </c:pt>
                <c:pt idx="1018">
                  <c:v>2151.8897925285601</c:v>
                </c:pt>
                <c:pt idx="1019">
                  <c:v>2256.65196733333</c:v>
                </c:pt>
                <c:pt idx="1020">
                  <c:v>1836.86610517083</c:v>
                </c:pt>
                <c:pt idx="1021">
                  <c:v>2239.7297245291602</c:v>
                </c:pt>
                <c:pt idx="1022">
                  <c:v>2140.23545285416</c:v>
                </c:pt>
                <c:pt idx="1023">
                  <c:v>2506.3152242749902</c:v>
                </c:pt>
                <c:pt idx="1024">
                  <c:v>2137.7923270874899</c:v>
                </c:pt>
                <c:pt idx="1025">
                  <c:v>2460.35066638749</c:v>
                </c:pt>
                <c:pt idx="1026">
                  <c:v>2122.5202968374902</c:v>
                </c:pt>
                <c:pt idx="1027">
                  <c:v>2413.4504149291602</c:v>
                </c:pt>
                <c:pt idx="1028">
                  <c:v>2454.0782498888798</c:v>
                </c:pt>
                <c:pt idx="1029">
                  <c:v>2702.1822030666599</c:v>
                </c:pt>
                <c:pt idx="1030">
                  <c:v>2678.7584678062399</c:v>
                </c:pt>
                <c:pt idx="1031">
                  <c:v>2736.0415722318098</c:v>
                </c:pt>
                <c:pt idx="1032">
                  <c:v>2425.2262150699898</c:v>
                </c:pt>
                <c:pt idx="1033">
                  <c:v>2471.2303256999899</c:v>
                </c:pt>
                <c:pt idx="1034">
                  <c:v>2015.5064658958299</c:v>
                </c:pt>
                <c:pt idx="1035">
                  <c:v>2465.7789927958302</c:v>
                </c:pt>
                <c:pt idx="1036">
                  <c:v>1971.19641015555</c:v>
                </c:pt>
                <c:pt idx="1037">
                  <c:v>2330.57700935</c:v>
                </c:pt>
                <c:pt idx="1038">
                  <c:v>2225.8439881541599</c:v>
                </c:pt>
                <c:pt idx="1039">
                  <c:v>2563.3973150874899</c:v>
                </c:pt>
                <c:pt idx="1040">
                  <c:v>2178.5005601166599</c:v>
                </c:pt>
                <c:pt idx="1041">
                  <c:v>2503.8253872708201</c:v>
                </c:pt>
                <c:pt idx="1042">
                  <c:v>2083.68529156666</c:v>
                </c:pt>
                <c:pt idx="1043">
                  <c:v>2555.2738623083301</c:v>
                </c:pt>
                <c:pt idx="1044">
                  <c:v>2183.7037006874998</c:v>
                </c:pt>
                <c:pt idx="1045">
                  <c:v>2578.8708050083301</c:v>
                </c:pt>
                <c:pt idx="1046">
                  <c:v>2021.06139560833</c:v>
                </c:pt>
                <c:pt idx="1047">
                  <c:v>2307.6349154958298</c:v>
                </c:pt>
                <c:pt idx="1048">
                  <c:v>1877.57732694583</c:v>
                </c:pt>
                <c:pt idx="1049">
                  <c:v>2290.7028185624899</c:v>
                </c:pt>
                <c:pt idx="1050">
                  <c:v>2201.9893836583301</c:v>
                </c:pt>
                <c:pt idx="1051">
                  <c:v>2536.5788713624902</c:v>
                </c:pt>
                <c:pt idx="1052">
                  <c:v>2227.0405394958302</c:v>
                </c:pt>
                <c:pt idx="1053">
                  <c:v>2665.6304535374902</c:v>
                </c:pt>
                <c:pt idx="1054">
                  <c:v>2358.7919673049901</c:v>
                </c:pt>
                <c:pt idx="1055">
                  <c:v>2582.399825</c:v>
                </c:pt>
                <c:pt idx="1056">
                  <c:v>2205.4939439708301</c:v>
                </c:pt>
                <c:pt idx="1057">
                  <c:v>2531.0467592124901</c:v>
                </c:pt>
                <c:pt idx="1058">
                  <c:v>2264.1822469833301</c:v>
                </c:pt>
                <c:pt idx="1059">
                  <c:v>2578.9773850833299</c:v>
                </c:pt>
                <c:pt idx="1060">
                  <c:v>2073.3362390083298</c:v>
                </c:pt>
                <c:pt idx="1061">
                  <c:v>2549.9073886291599</c:v>
                </c:pt>
                <c:pt idx="1062">
                  <c:v>2066.1066521041598</c:v>
                </c:pt>
                <c:pt idx="1063">
                  <c:v>2391.6909986791602</c:v>
                </c:pt>
                <c:pt idx="1064">
                  <c:v>2231.3980455291598</c:v>
                </c:pt>
                <c:pt idx="1065">
                  <c:v>2742.09098012499</c:v>
                </c:pt>
                <c:pt idx="1066">
                  <c:v>2318.3316843083298</c:v>
                </c:pt>
                <c:pt idx="1067">
                  <c:v>2765.9187628833301</c:v>
                </c:pt>
                <c:pt idx="1068">
                  <c:v>2283.41872064166</c:v>
                </c:pt>
                <c:pt idx="1069">
                  <c:v>2579.1935956208299</c:v>
                </c:pt>
                <c:pt idx="1070">
                  <c:v>2345.47395315833</c:v>
                </c:pt>
                <c:pt idx="1071">
                  <c:v>2774.09424652499</c:v>
                </c:pt>
                <c:pt idx="1072">
                  <c:v>2511.9457208888798</c:v>
                </c:pt>
                <c:pt idx="1073">
                  <c:v>2589.7789234666602</c:v>
                </c:pt>
                <c:pt idx="1074">
                  <c:v>2260.8152649937501</c:v>
                </c:pt>
                <c:pt idx="1075">
                  <c:v>2314.3122076</c:v>
                </c:pt>
                <c:pt idx="1076">
                  <c:v>2167.0786755899899</c:v>
                </c:pt>
                <c:pt idx="1077">
                  <c:v>2499.29126914166</c:v>
                </c:pt>
                <c:pt idx="1078">
                  <c:v>2245.5092780908999</c:v>
                </c:pt>
                <c:pt idx="1079">
                  <c:v>2493.59503287083</c:v>
                </c:pt>
                <c:pt idx="1080">
                  <c:v>2274.4805100541598</c:v>
                </c:pt>
                <c:pt idx="1081">
                  <c:v>2519.4081521583298</c:v>
                </c:pt>
                <c:pt idx="1082">
                  <c:v>2344.2071731041601</c:v>
                </c:pt>
                <c:pt idx="1083">
                  <c:v>2672.66476106666</c:v>
                </c:pt>
                <c:pt idx="1084">
                  <c:v>2233.1198583833302</c:v>
                </c:pt>
                <c:pt idx="1085">
                  <c:v>2668.0619382708301</c:v>
                </c:pt>
                <c:pt idx="1086">
                  <c:v>2219.4378834791601</c:v>
                </c:pt>
                <c:pt idx="1087">
                  <c:v>2484.5921682708299</c:v>
                </c:pt>
                <c:pt idx="1088">
                  <c:v>1975.0117345541601</c:v>
                </c:pt>
                <c:pt idx="1089">
                  <c:v>2351.1718993333302</c:v>
                </c:pt>
                <c:pt idx="1090">
                  <c:v>2140.66846049374</c:v>
                </c:pt>
                <c:pt idx="1091">
                  <c:v>2271.0611251458299</c:v>
                </c:pt>
                <c:pt idx="1092">
                  <c:v>2574.4839794437498</c:v>
                </c:pt>
                <c:pt idx="1093">
                  <c:v>2609.5576928791602</c:v>
                </c:pt>
                <c:pt idx="1094">
                  <c:v>2346.5856706916602</c:v>
                </c:pt>
                <c:pt idx="1095">
                  <c:v>2516.7227591958299</c:v>
                </c:pt>
                <c:pt idx="1096">
                  <c:v>2310.1774498208301</c:v>
                </c:pt>
                <c:pt idx="1097">
                  <c:v>2751.0745728249999</c:v>
                </c:pt>
                <c:pt idx="1098">
                  <c:v>2400.1643356333302</c:v>
                </c:pt>
                <c:pt idx="1099">
                  <c:v>2722.1102453374901</c:v>
                </c:pt>
                <c:pt idx="1100">
                  <c:v>2495.8680823333302</c:v>
                </c:pt>
                <c:pt idx="1101">
                  <c:v>2687.2987756124899</c:v>
                </c:pt>
                <c:pt idx="1102">
                  <c:v>2199.4620709124902</c:v>
                </c:pt>
                <c:pt idx="1103">
                  <c:v>2519.9222484124898</c:v>
                </c:pt>
                <c:pt idx="1104">
                  <c:v>2144.8894027624901</c:v>
                </c:pt>
                <c:pt idx="1105">
                  <c:v>2539.6737235833298</c:v>
                </c:pt>
                <c:pt idx="1106">
                  <c:v>2440.8228677041602</c:v>
                </c:pt>
                <c:pt idx="1107">
                  <c:v>2736.0700492958299</c:v>
                </c:pt>
                <c:pt idx="1108">
                  <c:v>2403.47110140416</c:v>
                </c:pt>
                <c:pt idx="1109">
                  <c:v>2780.5965677541599</c:v>
                </c:pt>
                <c:pt idx="1110">
                  <c:v>2162.8221352833302</c:v>
                </c:pt>
                <c:pt idx="1111">
                  <c:v>2573.8093451916602</c:v>
                </c:pt>
                <c:pt idx="1112">
                  <c:v>2343.7493510458198</c:v>
                </c:pt>
                <c:pt idx="1113">
                  <c:v>2857.1240147541598</c:v>
                </c:pt>
                <c:pt idx="1114">
                  <c:v>2318.55609405416</c:v>
                </c:pt>
                <c:pt idx="1115">
                  <c:v>2505.1996293375</c:v>
                </c:pt>
                <c:pt idx="1116">
                  <c:v>2020.46666515416</c:v>
                </c:pt>
                <c:pt idx="1117">
                  <c:v>2413.80579378333</c:v>
                </c:pt>
                <c:pt idx="1118">
                  <c:v>1996.57660631249</c:v>
                </c:pt>
                <c:pt idx="1119">
                  <c:v>2352.0824248041599</c:v>
                </c:pt>
                <c:pt idx="1120">
                  <c:v>2143.90196194583</c:v>
                </c:pt>
                <c:pt idx="1121">
                  <c:v>2606.9075596708299</c:v>
                </c:pt>
                <c:pt idx="1122">
                  <c:v>2324.38466607499</c:v>
                </c:pt>
                <c:pt idx="1123">
                  <c:v>2648.5148793624899</c:v>
                </c:pt>
                <c:pt idx="1124">
                  <c:v>2291.0671482749899</c:v>
                </c:pt>
                <c:pt idx="1125">
                  <c:v>2642.4324848708302</c:v>
                </c:pt>
                <c:pt idx="1126">
                  <c:v>2486.63121728749</c:v>
                </c:pt>
                <c:pt idx="1127">
                  <c:v>2778.6083636916601</c:v>
                </c:pt>
                <c:pt idx="1128">
                  <c:v>2422.4372520291599</c:v>
                </c:pt>
                <c:pt idx="1129">
                  <c:v>2721.7999010458302</c:v>
                </c:pt>
                <c:pt idx="1130">
                  <c:v>2212.9776560874898</c:v>
                </c:pt>
                <c:pt idx="1131">
                  <c:v>2501.9361610916599</c:v>
                </c:pt>
                <c:pt idx="1132">
                  <c:v>2111.5541722166599</c:v>
                </c:pt>
                <c:pt idx="1133">
                  <c:v>2530.7492368666599</c:v>
                </c:pt>
                <c:pt idx="1134">
                  <c:v>2497.3223774458202</c:v>
                </c:pt>
                <c:pt idx="1135">
                  <c:v>2732.7460427999999</c:v>
                </c:pt>
                <c:pt idx="1136">
                  <c:v>2439.8128192833301</c:v>
                </c:pt>
                <c:pt idx="1137">
                  <c:v>2564.54435559999</c:v>
                </c:pt>
                <c:pt idx="1138">
                  <c:v>2039.49136985833</c:v>
                </c:pt>
                <c:pt idx="1139">
                  <c:v>2476.18546571249</c:v>
                </c:pt>
                <c:pt idx="1140">
                  <c:v>2162.33460924166</c:v>
                </c:pt>
                <c:pt idx="1141">
                  <c:v>2505.5693950791601</c:v>
                </c:pt>
                <c:pt idx="1142">
                  <c:v>2241.4802592041601</c:v>
                </c:pt>
                <c:pt idx="1143">
                  <c:v>2905.0637619208301</c:v>
                </c:pt>
                <c:pt idx="1144">
                  <c:v>2179.3773501249898</c:v>
                </c:pt>
                <c:pt idx="1145">
                  <c:v>2483.37733289166</c:v>
                </c:pt>
                <c:pt idx="1146">
                  <c:v>1970.0525984583301</c:v>
                </c:pt>
                <c:pt idx="1147">
                  <c:v>2421.4947473458301</c:v>
                </c:pt>
                <c:pt idx="1148">
                  <c:v>2258.18339816249</c:v>
                </c:pt>
                <c:pt idx="1149">
                  <c:v>2689.0604894916601</c:v>
                </c:pt>
                <c:pt idx="1150">
                  <c:v>2404.6785901416602</c:v>
                </c:pt>
                <c:pt idx="1151">
                  <c:v>2544.4278952458299</c:v>
                </c:pt>
                <c:pt idx="1152">
                  <c:v>2210.3872715416601</c:v>
                </c:pt>
                <c:pt idx="1153">
                  <c:v>2609.8060056208301</c:v>
                </c:pt>
                <c:pt idx="1154">
                  <c:v>2268.1242514916598</c:v>
                </c:pt>
                <c:pt idx="1155">
                  <c:v>2530.30713499166</c:v>
                </c:pt>
                <c:pt idx="1156">
                  <c:v>2248.5141886624901</c:v>
                </c:pt>
                <c:pt idx="1157">
                  <c:v>2468.9981134874902</c:v>
                </c:pt>
                <c:pt idx="1158">
                  <c:v>2007.1091398083299</c:v>
                </c:pt>
                <c:pt idx="1159">
                  <c:v>2283.2115860958302</c:v>
                </c:pt>
                <c:pt idx="1160">
                  <c:v>1926.3508711791601</c:v>
                </c:pt>
                <c:pt idx="1161">
                  <c:v>2254.4026167624902</c:v>
                </c:pt>
                <c:pt idx="1162">
                  <c:v>2097.32178277499</c:v>
                </c:pt>
                <c:pt idx="1163">
                  <c:v>2447.0156194791598</c:v>
                </c:pt>
                <c:pt idx="1164">
                  <c:v>2058.4143178874901</c:v>
                </c:pt>
                <c:pt idx="1165">
                  <c:v>2263.9383129583298</c:v>
                </c:pt>
                <c:pt idx="1166">
                  <c:v>2234.9891930833301</c:v>
                </c:pt>
                <c:pt idx="1167">
                  <c:v>2535.4648421291599</c:v>
                </c:pt>
                <c:pt idx="1168">
                  <c:v>2119.8378024249901</c:v>
                </c:pt>
                <c:pt idx="1169">
                  <c:v>2611.1508810291598</c:v>
                </c:pt>
                <c:pt idx="1170">
                  <c:v>2252.2625322999902</c:v>
                </c:pt>
                <c:pt idx="1171">
                  <c:v>2435.58375557916</c:v>
                </c:pt>
                <c:pt idx="1172">
                  <c:v>2012.25450448333</c:v>
                </c:pt>
                <c:pt idx="1173">
                  <c:v>2306.09973747083</c:v>
                </c:pt>
                <c:pt idx="1174">
                  <c:v>1922.23204700416</c:v>
                </c:pt>
                <c:pt idx="1175">
                  <c:v>2271.5186199166601</c:v>
                </c:pt>
                <c:pt idx="1176">
                  <c:v>2173.2485973624898</c:v>
                </c:pt>
                <c:pt idx="1177">
                  <c:v>2599.35337378333</c:v>
                </c:pt>
                <c:pt idx="1178">
                  <c:v>2275.3774637166598</c:v>
                </c:pt>
                <c:pt idx="1179">
                  <c:v>2572.1158187249898</c:v>
                </c:pt>
                <c:pt idx="1180">
                  <c:v>2332.2469968083201</c:v>
                </c:pt>
                <c:pt idx="1181">
                  <c:v>2522.0577934541602</c:v>
                </c:pt>
                <c:pt idx="1182">
                  <c:v>2178.5971232791599</c:v>
                </c:pt>
                <c:pt idx="1183">
                  <c:v>2640.2822745583298</c:v>
                </c:pt>
                <c:pt idx="1184">
                  <c:v>2262.52688914583</c:v>
                </c:pt>
                <c:pt idx="1185">
                  <c:v>2547.7255107166602</c:v>
                </c:pt>
                <c:pt idx="1186">
                  <c:v>2002.28532935416</c:v>
                </c:pt>
                <c:pt idx="1187">
                  <c:v>2471.14781382916</c:v>
                </c:pt>
                <c:pt idx="1188">
                  <c:v>1884.5189767458301</c:v>
                </c:pt>
                <c:pt idx="1189">
                  <c:v>2284.6860655041601</c:v>
                </c:pt>
                <c:pt idx="1190">
                  <c:v>2074.9366848416598</c:v>
                </c:pt>
                <c:pt idx="1191">
                  <c:v>2416.9764224291598</c:v>
                </c:pt>
                <c:pt idx="1192">
                  <c:v>2351.8879272875001</c:v>
                </c:pt>
                <c:pt idx="1193">
                  <c:v>2486.4495979416602</c:v>
                </c:pt>
                <c:pt idx="1194">
                  <c:v>2205.80877638333</c:v>
                </c:pt>
                <c:pt idx="1195">
                  <c:v>2463.8877806208302</c:v>
                </c:pt>
                <c:pt idx="1196">
                  <c:v>2389.5416550772702</c:v>
                </c:pt>
                <c:pt idx="1197">
                  <c:v>2462.3126748458299</c:v>
                </c:pt>
                <c:pt idx="1198">
                  <c:v>2597.9697656916601</c:v>
                </c:pt>
                <c:pt idx="1199">
                  <c:v>2343.0126144708302</c:v>
                </c:pt>
                <c:pt idx="1200">
                  <c:v>1935.67293994999</c:v>
                </c:pt>
                <c:pt idx="1201">
                  <c:v>2169.6442316708199</c:v>
                </c:pt>
                <c:pt idx="1202">
                  <c:v>1945.7263270999899</c:v>
                </c:pt>
                <c:pt idx="1203">
                  <c:v>2415.7238709749899</c:v>
                </c:pt>
                <c:pt idx="1204">
                  <c:v>2155.8468403083298</c:v>
                </c:pt>
                <c:pt idx="1205">
                  <c:v>2488.4190322208301</c:v>
                </c:pt>
                <c:pt idx="1206">
                  <c:v>2225.5085196499999</c:v>
                </c:pt>
                <c:pt idx="1207">
                  <c:v>2729.62043478749</c:v>
                </c:pt>
                <c:pt idx="1208">
                  <c:v>2310.9775189749898</c:v>
                </c:pt>
                <c:pt idx="1209">
                  <c:v>2549.6945594041599</c:v>
                </c:pt>
                <c:pt idx="1210">
                  <c:v>2250.2431120541601</c:v>
                </c:pt>
                <c:pt idx="1211">
                  <c:v>2474.0586088999898</c:v>
                </c:pt>
                <c:pt idx="1212">
                  <c:v>2181.92416806249</c:v>
                </c:pt>
                <c:pt idx="1213">
                  <c:v>2459.62038521249</c:v>
                </c:pt>
                <c:pt idx="1214">
                  <c:v>2001.1209491583299</c:v>
                </c:pt>
                <c:pt idx="1215">
                  <c:v>2264.75547124166</c:v>
                </c:pt>
                <c:pt idx="1216">
                  <c:v>1921.8538409166599</c:v>
                </c:pt>
                <c:pt idx="1217">
                  <c:v>2338.8713482916601</c:v>
                </c:pt>
                <c:pt idx="1218">
                  <c:v>2248.2096055541601</c:v>
                </c:pt>
                <c:pt idx="1219">
                  <c:v>2430.7613596208298</c:v>
                </c:pt>
                <c:pt idx="1220">
                  <c:v>2143.8002868999902</c:v>
                </c:pt>
                <c:pt idx="1221">
                  <c:v>2488.10847363333</c:v>
                </c:pt>
                <c:pt idx="1222">
                  <c:v>2079.2519090791602</c:v>
                </c:pt>
                <c:pt idx="1223">
                  <c:v>2292.28191523333</c:v>
                </c:pt>
                <c:pt idx="1224">
                  <c:v>2187.0871952124999</c:v>
                </c:pt>
                <c:pt idx="1225">
                  <c:v>2578.1538939624902</c:v>
                </c:pt>
                <c:pt idx="1226">
                  <c:v>2073.3774350125</c:v>
                </c:pt>
                <c:pt idx="1227">
                  <c:v>2368.6728615124898</c:v>
                </c:pt>
                <c:pt idx="1228">
                  <c:v>2047.0225873166601</c:v>
                </c:pt>
                <c:pt idx="1229">
                  <c:v>2192.4860586999898</c:v>
                </c:pt>
                <c:pt idx="1230">
                  <c:v>1873.06487834583</c:v>
                </c:pt>
                <c:pt idx="1231">
                  <c:v>2222.5540251458301</c:v>
                </c:pt>
                <c:pt idx="1232">
                  <c:v>2121.8563898791599</c:v>
                </c:pt>
                <c:pt idx="1233">
                  <c:v>2453.3169167750002</c:v>
                </c:pt>
                <c:pt idx="1234">
                  <c:v>2205.2623963208298</c:v>
                </c:pt>
                <c:pt idx="1235">
                  <c:v>2507.6118844083298</c:v>
                </c:pt>
                <c:pt idx="1236">
                  <c:v>2188.4652711458298</c:v>
                </c:pt>
                <c:pt idx="1237">
                  <c:v>2584.44164734999</c:v>
                </c:pt>
                <c:pt idx="1238">
                  <c:v>2158.9195386124902</c:v>
                </c:pt>
                <c:pt idx="1239">
                  <c:v>2390.7399585374901</c:v>
                </c:pt>
                <c:pt idx="1240">
                  <c:v>2250.0891999208302</c:v>
                </c:pt>
                <c:pt idx="1241">
                  <c:v>2573.5470409049899</c:v>
                </c:pt>
                <c:pt idx="1242">
                  <c:v>1949.9912697541599</c:v>
                </c:pt>
                <c:pt idx="1243">
                  <c:v>2521.4858069583302</c:v>
                </c:pt>
                <c:pt idx="1244">
                  <c:v>2023.5993877916601</c:v>
                </c:pt>
                <c:pt idx="1245">
                  <c:v>2372.4070769416599</c:v>
                </c:pt>
                <c:pt idx="1246">
                  <c:v>2288.5283720166599</c:v>
                </c:pt>
                <c:pt idx="1247">
                  <c:v>2750.9170458041599</c:v>
                </c:pt>
                <c:pt idx="1248">
                  <c:v>2395.3668768041598</c:v>
                </c:pt>
                <c:pt idx="1249">
                  <c:v>2506.8038927499902</c:v>
                </c:pt>
                <c:pt idx="1250">
                  <c:v>2280.4726940291598</c:v>
                </c:pt>
                <c:pt idx="1251">
                  <c:v>2566.9448365708299</c:v>
                </c:pt>
                <c:pt idx="1252">
                  <c:v>2116.5523292124899</c:v>
                </c:pt>
                <c:pt idx="1253">
                  <c:v>2461.1738193708302</c:v>
                </c:pt>
                <c:pt idx="1254">
                  <c:v>2288.29357438332</c:v>
                </c:pt>
                <c:pt idx="1255">
                  <c:v>2493.1580491749901</c:v>
                </c:pt>
                <c:pt idx="1256">
                  <c:v>1997.42899145416</c:v>
                </c:pt>
                <c:pt idx="1257">
                  <c:v>2123.2153123916601</c:v>
                </c:pt>
                <c:pt idx="1258">
                  <c:v>1959.9531131199999</c:v>
                </c:pt>
                <c:pt idx="1259">
                  <c:v>2364.44915055416</c:v>
                </c:pt>
                <c:pt idx="1260">
                  <c:v>2248.0190105124898</c:v>
                </c:pt>
                <c:pt idx="1261">
                  <c:v>2449.8866331333302</c:v>
                </c:pt>
                <c:pt idx="1262">
                  <c:v>2096.2388598541602</c:v>
                </c:pt>
                <c:pt idx="1263">
                  <c:v>2440.3553028374899</c:v>
                </c:pt>
                <c:pt idx="1264">
                  <c:v>2174.9172505541601</c:v>
                </c:pt>
                <c:pt idx="1265">
                  <c:v>2413.5105322916602</c:v>
                </c:pt>
                <c:pt idx="1266">
                  <c:v>2185.6362948291599</c:v>
                </c:pt>
                <c:pt idx="1267">
                  <c:v>2488.2033734500001</c:v>
                </c:pt>
                <c:pt idx="1268">
                  <c:v>2231.6066298124902</c:v>
                </c:pt>
                <c:pt idx="1269">
                  <c:v>2409.3805057374898</c:v>
                </c:pt>
                <c:pt idx="1270">
                  <c:v>1921.2692918958301</c:v>
                </c:pt>
                <c:pt idx="1271">
                  <c:v>2087.1779811166598</c:v>
                </c:pt>
                <c:pt idx="1272">
                  <c:v>1892.1575970958299</c:v>
                </c:pt>
                <c:pt idx="1273">
                  <c:v>2173.0139887708301</c:v>
                </c:pt>
                <c:pt idx="1274">
                  <c:v>1895.0546239416601</c:v>
                </c:pt>
                <c:pt idx="1275">
                  <c:v>2193.5688543291599</c:v>
                </c:pt>
                <c:pt idx="1276">
                  <c:v>2045.4487360916601</c:v>
                </c:pt>
                <c:pt idx="1277">
                  <c:v>2551.9848045416602</c:v>
                </c:pt>
                <c:pt idx="1278">
                  <c:v>2031.1868413249899</c:v>
                </c:pt>
                <c:pt idx="1279">
                  <c:v>2302.8370136041599</c:v>
                </c:pt>
                <c:pt idx="1280">
                  <c:v>2265.20051680714</c:v>
                </c:pt>
                <c:pt idx="1281">
                  <c:v>2274.5985309624898</c:v>
                </c:pt>
                <c:pt idx="1282">
                  <c:v>2135.9982475583301</c:v>
                </c:pt>
                <c:pt idx="1283">
                  <c:v>2375.1063702249899</c:v>
                </c:pt>
                <c:pt idx="1284">
                  <c:v>2001.9841070999901</c:v>
                </c:pt>
                <c:pt idx="1285">
                  <c:v>2222.6508015458298</c:v>
                </c:pt>
                <c:pt idx="1286">
                  <c:v>1869.44751362083</c:v>
                </c:pt>
                <c:pt idx="1287">
                  <c:v>2031.8905010416599</c:v>
                </c:pt>
                <c:pt idx="1288">
                  <c:v>2070.8754603000002</c:v>
                </c:pt>
                <c:pt idx="1289">
                  <c:v>2413.41911486249</c:v>
                </c:pt>
                <c:pt idx="1290">
                  <c:v>2139.0103975458301</c:v>
                </c:pt>
                <c:pt idx="1291">
                  <c:v>2448.6224742749901</c:v>
                </c:pt>
                <c:pt idx="1292">
                  <c:v>2178.94914845416</c:v>
                </c:pt>
                <c:pt idx="1293">
                  <c:v>2403.7327108333302</c:v>
                </c:pt>
                <c:pt idx="1294">
                  <c:v>2120.5494546333298</c:v>
                </c:pt>
                <c:pt idx="1295">
                  <c:v>2471.67496623749</c:v>
                </c:pt>
                <c:pt idx="1296">
                  <c:v>2086.25206199583</c:v>
                </c:pt>
                <c:pt idx="1297">
                  <c:v>2442.8866810416598</c:v>
                </c:pt>
                <c:pt idx="1298">
                  <c:v>1963.9878850208299</c:v>
                </c:pt>
                <c:pt idx="1299">
                  <c:v>2139.9399515208302</c:v>
                </c:pt>
                <c:pt idx="1300">
                  <c:v>1766.14336092083</c:v>
                </c:pt>
                <c:pt idx="1301">
                  <c:v>2132.2404888999999</c:v>
                </c:pt>
                <c:pt idx="1302">
                  <c:v>2083.7589468916599</c:v>
                </c:pt>
                <c:pt idx="1303">
                  <c:v>2341.1671416499998</c:v>
                </c:pt>
                <c:pt idx="1304">
                  <c:v>2093.52091827916</c:v>
                </c:pt>
                <c:pt idx="1305">
                  <c:v>2386.4904451791599</c:v>
                </c:pt>
                <c:pt idx="1306">
                  <c:v>2032.8935772208299</c:v>
                </c:pt>
                <c:pt idx="1307">
                  <c:v>2301.3289821916601</c:v>
                </c:pt>
                <c:pt idx="1308">
                  <c:v>2119.0852012249902</c:v>
                </c:pt>
                <c:pt idx="1309">
                  <c:v>2325.9137709333299</c:v>
                </c:pt>
                <c:pt idx="1310">
                  <c:v>2009.09985255833</c:v>
                </c:pt>
                <c:pt idx="1311">
                  <c:v>2283.4003024624899</c:v>
                </c:pt>
                <c:pt idx="1312">
                  <c:v>1919.3676576749899</c:v>
                </c:pt>
                <c:pt idx="1313">
                  <c:v>2286.60910756249</c:v>
                </c:pt>
                <c:pt idx="1314">
                  <c:v>1848.7247567541599</c:v>
                </c:pt>
                <c:pt idx="1315">
                  <c:v>2055.5258291749901</c:v>
                </c:pt>
                <c:pt idx="1316">
                  <c:v>2065.4158662874902</c:v>
                </c:pt>
                <c:pt idx="1317">
                  <c:v>2347.5712044791599</c:v>
                </c:pt>
                <c:pt idx="1318">
                  <c:v>1953.4718825083301</c:v>
                </c:pt>
                <c:pt idx="1319">
                  <c:v>2347.2038133833298</c:v>
                </c:pt>
                <c:pt idx="1320">
                  <c:v>2089.9674572541599</c:v>
                </c:pt>
                <c:pt idx="1321">
                  <c:v>2308.8326177374902</c:v>
                </c:pt>
                <c:pt idx="1322">
                  <c:v>2021.69496208333</c:v>
                </c:pt>
                <c:pt idx="1323">
                  <c:v>2344.4569725874899</c:v>
                </c:pt>
                <c:pt idx="1324">
                  <c:v>1995.2366470833299</c:v>
                </c:pt>
                <c:pt idx="1325">
                  <c:v>2290.1569567916599</c:v>
                </c:pt>
                <c:pt idx="1326">
                  <c:v>1905.2592441166601</c:v>
                </c:pt>
                <c:pt idx="1327">
                  <c:v>2075.94736607916</c:v>
                </c:pt>
                <c:pt idx="1328">
                  <c:v>1785.0475021541599</c:v>
                </c:pt>
                <c:pt idx="1329">
                  <c:v>2224.8661248083299</c:v>
                </c:pt>
                <c:pt idx="1330">
                  <c:v>2128.69922132499</c:v>
                </c:pt>
                <c:pt idx="1331">
                  <c:v>2480.6346454208301</c:v>
                </c:pt>
                <c:pt idx="1332">
                  <c:v>2124.5476204874999</c:v>
                </c:pt>
                <c:pt idx="1333">
                  <c:v>2571.44064713749</c:v>
                </c:pt>
                <c:pt idx="1334">
                  <c:v>2217.5268075249901</c:v>
                </c:pt>
                <c:pt idx="1335">
                  <c:v>2683.7011060749901</c:v>
                </c:pt>
                <c:pt idx="1336">
                  <c:v>2215.4528255416599</c:v>
                </c:pt>
                <c:pt idx="1337">
                  <c:v>2554.6916965374899</c:v>
                </c:pt>
                <c:pt idx="1338">
                  <c:v>2151.4010383208301</c:v>
                </c:pt>
                <c:pt idx="1339">
                  <c:v>2318.9251723624898</c:v>
                </c:pt>
                <c:pt idx="1340">
                  <c:v>1916.7523576624901</c:v>
                </c:pt>
                <c:pt idx="1341">
                  <c:v>2233.5855653583299</c:v>
                </c:pt>
                <c:pt idx="1342">
                  <c:v>1842.9941724181799</c:v>
                </c:pt>
                <c:pt idx="1343">
                  <c:v>2396.8332543874999</c:v>
                </c:pt>
                <c:pt idx="1344">
                  <c:v>2408.6852115666602</c:v>
                </c:pt>
                <c:pt idx="1345">
                  <c:v>2942.7936255916602</c:v>
                </c:pt>
                <c:pt idx="1346">
                  <c:v>2237.4565533958298</c:v>
                </c:pt>
                <c:pt idx="1347">
                  <c:v>2495.2396494291602</c:v>
                </c:pt>
                <c:pt idx="1348">
                  <c:v>2130.4837477833298</c:v>
                </c:pt>
                <c:pt idx="1349">
                  <c:v>2358.7742951124901</c:v>
                </c:pt>
                <c:pt idx="1350">
                  <c:v>2085.4095028833299</c:v>
                </c:pt>
                <c:pt idx="1351">
                  <c:v>2406.06192685</c:v>
                </c:pt>
                <c:pt idx="1352">
                  <c:v>2127.6195419083301</c:v>
                </c:pt>
                <c:pt idx="1353">
                  <c:v>2560.4690787166601</c:v>
                </c:pt>
                <c:pt idx="1354">
                  <c:v>1850.07687563749</c:v>
                </c:pt>
                <c:pt idx="1355">
                  <c:v>2426.7125137999901</c:v>
                </c:pt>
                <c:pt idx="1356">
                  <c:v>1944.93938328749</c:v>
                </c:pt>
                <c:pt idx="1357">
                  <c:v>2505.62112916666</c:v>
                </c:pt>
                <c:pt idx="1358">
                  <c:v>2269.7310178791599</c:v>
                </c:pt>
                <c:pt idx="1359">
                  <c:v>2653.8419085916598</c:v>
                </c:pt>
                <c:pt idx="1360">
                  <c:v>2142.6655492416598</c:v>
                </c:pt>
                <c:pt idx="1361">
                  <c:v>2586.2336037499899</c:v>
                </c:pt>
                <c:pt idx="1362">
                  <c:v>2057.5499015749901</c:v>
                </c:pt>
                <c:pt idx="1363">
                  <c:v>2420.3933309416602</c:v>
                </c:pt>
                <c:pt idx="1364">
                  <c:v>2060.3646132583299</c:v>
                </c:pt>
                <c:pt idx="1365">
                  <c:v>2679.9089147124901</c:v>
                </c:pt>
                <c:pt idx="1366">
                  <c:v>2216.1711631458302</c:v>
                </c:pt>
                <c:pt idx="1367">
                  <c:v>2859.29657275416</c:v>
                </c:pt>
                <c:pt idx="1368">
                  <c:v>2109.5862018166599</c:v>
                </c:pt>
                <c:pt idx="1369">
                  <c:v>2827.9392348166598</c:v>
                </c:pt>
                <c:pt idx="1370">
                  <c:v>2155.9553043333199</c:v>
                </c:pt>
                <c:pt idx="1371">
                  <c:v>2406.6276335666598</c:v>
                </c:pt>
                <c:pt idx="1372">
                  <c:v>2279.2814025999901</c:v>
                </c:pt>
                <c:pt idx="1373">
                  <c:v>2478.70375900416</c:v>
                </c:pt>
                <c:pt idx="1374">
                  <c:v>2198.4836424888799</c:v>
                </c:pt>
                <c:pt idx="1375">
                  <c:v>2294.2215229999902</c:v>
                </c:pt>
                <c:pt idx="1376">
                  <c:v>2159.42412805714</c:v>
                </c:pt>
                <c:pt idx="1377">
                  <c:v>2379.47266078749</c:v>
                </c:pt>
                <c:pt idx="1378">
                  <c:v>2352.6478747687402</c:v>
                </c:pt>
                <c:pt idx="1379">
                  <c:v>2646.2014103333299</c:v>
                </c:pt>
                <c:pt idx="1380">
                  <c:v>2272.50585269166</c:v>
                </c:pt>
                <c:pt idx="1381">
                  <c:v>2652.7158889541602</c:v>
                </c:pt>
                <c:pt idx="1382">
                  <c:v>2005.0910042666601</c:v>
                </c:pt>
                <c:pt idx="1383">
                  <c:v>2234.64248065416</c:v>
                </c:pt>
                <c:pt idx="1384">
                  <c:v>1864.3924599833299</c:v>
                </c:pt>
                <c:pt idx="1385">
                  <c:v>2024.61291038333</c:v>
                </c:pt>
                <c:pt idx="1386">
                  <c:v>2005.26518903749</c:v>
                </c:pt>
                <c:pt idx="1387">
                  <c:v>2374.9275914636301</c:v>
                </c:pt>
                <c:pt idx="1388">
                  <c:v>2211.1820126428502</c:v>
                </c:pt>
                <c:pt idx="1389">
                  <c:v>2294.1619328166598</c:v>
                </c:pt>
                <c:pt idx="1390">
                  <c:v>2257.7592412888798</c:v>
                </c:pt>
                <c:pt idx="1391">
                  <c:v>2585.15837254999</c:v>
                </c:pt>
                <c:pt idx="1392">
                  <c:v>2375.3230907249999</c:v>
                </c:pt>
                <c:pt idx="1393">
                  <c:v>2790.3557368124998</c:v>
                </c:pt>
                <c:pt idx="1394">
                  <c:v>2180.8448973541599</c:v>
                </c:pt>
                <c:pt idx="1395">
                  <c:v>2363.5114587958301</c:v>
                </c:pt>
                <c:pt idx="1396">
                  <c:v>1955.8362672041601</c:v>
                </c:pt>
                <c:pt idx="1397">
                  <c:v>2182.4259742499898</c:v>
                </c:pt>
                <c:pt idx="1398">
                  <c:v>1895.8564256833299</c:v>
                </c:pt>
                <c:pt idx="1399">
                  <c:v>2189.5764108874901</c:v>
                </c:pt>
                <c:pt idx="1400">
                  <c:v>2183.9110040708301</c:v>
                </c:pt>
                <c:pt idx="1401">
                  <c:v>2385.10862179999</c:v>
                </c:pt>
                <c:pt idx="1402">
                  <c:v>2154.4983601099898</c:v>
                </c:pt>
                <c:pt idx="1403">
                  <c:v>2305.9135916333298</c:v>
                </c:pt>
                <c:pt idx="1404">
                  <c:v>2196.01977080999</c:v>
                </c:pt>
                <c:pt idx="1405">
                  <c:v>2522.4646424208299</c:v>
                </c:pt>
                <c:pt idx="1406">
                  <c:v>2208.3186528055498</c:v>
                </c:pt>
                <c:pt idx="1407">
                  <c:v>2698.2957979499902</c:v>
                </c:pt>
                <c:pt idx="1408">
                  <c:v>2409.15837637083</c:v>
                </c:pt>
                <c:pt idx="1409">
                  <c:v>2971.8434390499901</c:v>
                </c:pt>
                <c:pt idx="1410">
                  <c:v>2197.7155545416599</c:v>
                </c:pt>
                <c:pt idx="1411">
                  <c:v>2426.7325211499901</c:v>
                </c:pt>
                <c:pt idx="1412">
                  <c:v>1917.03239828749</c:v>
                </c:pt>
                <c:pt idx="1413">
                  <c:v>2237.1392458958298</c:v>
                </c:pt>
                <c:pt idx="1414">
                  <c:v>2091.6083745166602</c:v>
                </c:pt>
                <c:pt idx="1415">
                  <c:v>2455.1946747249899</c:v>
                </c:pt>
                <c:pt idx="1416">
                  <c:v>2079.37890237083</c:v>
                </c:pt>
                <c:pt idx="1417">
                  <c:v>2727.84421164166</c:v>
                </c:pt>
                <c:pt idx="1418">
                  <c:v>2275.3221316999902</c:v>
                </c:pt>
                <c:pt idx="1419">
                  <c:v>2934.10397338333</c:v>
                </c:pt>
                <c:pt idx="1420">
                  <c:v>2528.1358425708299</c:v>
                </c:pt>
                <c:pt idx="1421">
                  <c:v>3237.7991635416602</c:v>
                </c:pt>
                <c:pt idx="1422">
                  <c:v>2579.88358816249</c:v>
                </c:pt>
                <c:pt idx="1423">
                  <c:v>3354.06702878333</c:v>
                </c:pt>
                <c:pt idx="1424">
                  <c:v>2559.6294510166599</c:v>
                </c:pt>
                <c:pt idx="1425">
                  <c:v>3264.2371815874999</c:v>
                </c:pt>
                <c:pt idx="1426">
                  <c:v>2490.9887963749902</c:v>
                </c:pt>
                <c:pt idx="1427">
                  <c:v>3251.3771467833299</c:v>
                </c:pt>
                <c:pt idx="1428">
                  <c:v>2665.4244438291598</c:v>
                </c:pt>
                <c:pt idx="1429">
                  <c:v>3741.0290686124899</c:v>
                </c:pt>
                <c:pt idx="1430">
                  <c:v>2649.4351034708302</c:v>
                </c:pt>
                <c:pt idx="1431">
                  <c:v>2959.3260986374898</c:v>
                </c:pt>
                <c:pt idx="1432">
                  <c:v>2373.5209118875</c:v>
                </c:pt>
                <c:pt idx="1433">
                  <c:v>2643.75417673333</c:v>
                </c:pt>
                <c:pt idx="1434">
                  <c:v>2349.5559309416599</c:v>
                </c:pt>
                <c:pt idx="1435">
                  <c:v>2650.2210921333299</c:v>
                </c:pt>
                <c:pt idx="1436">
                  <c:v>2229.1072341291601</c:v>
                </c:pt>
                <c:pt idx="1437">
                  <c:v>2575.2386780583302</c:v>
                </c:pt>
                <c:pt idx="1438">
                  <c:v>2011.6750117916599</c:v>
                </c:pt>
                <c:pt idx="1439">
                  <c:v>2307.4126483291602</c:v>
                </c:pt>
                <c:pt idx="1440">
                  <c:v>1953.2140380416599</c:v>
                </c:pt>
                <c:pt idx="1441">
                  <c:v>2361.0739734083299</c:v>
                </c:pt>
                <c:pt idx="1442">
                  <c:v>2209.59354426666</c:v>
                </c:pt>
                <c:pt idx="1443">
                  <c:v>2695.2328788791601</c:v>
                </c:pt>
                <c:pt idx="1444">
                  <c:v>2273.2429503499998</c:v>
                </c:pt>
                <c:pt idx="1445">
                  <c:v>2567.2627502791602</c:v>
                </c:pt>
                <c:pt idx="1446">
                  <c:v>2067.9224790958301</c:v>
                </c:pt>
                <c:pt idx="1447">
                  <c:v>2223.43608991666</c:v>
                </c:pt>
                <c:pt idx="1448">
                  <c:v>1903.0920479833301</c:v>
                </c:pt>
                <c:pt idx="1449">
                  <c:v>2306.4151266624899</c:v>
                </c:pt>
                <c:pt idx="1450">
                  <c:v>2159.7068845916601</c:v>
                </c:pt>
                <c:pt idx="1451">
                  <c:v>2454.2576683458301</c:v>
                </c:pt>
                <c:pt idx="1452">
                  <c:v>2020.5694791727201</c:v>
                </c:pt>
                <c:pt idx="1453">
                  <c:v>2363.03645631666</c:v>
                </c:pt>
                <c:pt idx="1454">
                  <c:v>1970.46141897499</c:v>
                </c:pt>
                <c:pt idx="1455">
                  <c:v>2549.5566624166599</c:v>
                </c:pt>
                <c:pt idx="1456">
                  <c:v>2301.8357706833299</c:v>
                </c:pt>
                <c:pt idx="1457">
                  <c:v>2660.8662708624902</c:v>
                </c:pt>
                <c:pt idx="1458">
                  <c:v>2197.6303354583301</c:v>
                </c:pt>
                <c:pt idx="1459">
                  <c:v>2379.96887625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760-4001-9BED-DBF4B0E40D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7902015"/>
        <c:axId val="587890367"/>
      </c:scatterChart>
      <c:valAx>
        <c:axId val="5879020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7890367"/>
        <c:crosses val="autoZero"/>
        <c:crossBetween val="midCat"/>
      </c:valAx>
      <c:valAx>
        <c:axId val="58789036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790201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ko-KR"/>
              <a:t>Hard</a:t>
            </a:r>
            <a:r>
              <a:rPr lang="en-US" altLang="ko-KR" baseline="0"/>
              <a:t> Water</a:t>
            </a:r>
            <a:endParaRPr lang="en-US" altLang="ko-K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Sheet1!$I$2</c:f>
              <c:strCache>
                <c:ptCount val="1"/>
                <c:pt idx="0">
                  <c:v>Market Water Demand (Giga-Litres)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H$3:$H$732</c:f>
              <c:numCache>
                <c:formatCode>"$"#,##0.00</c:formatCode>
                <c:ptCount val="730"/>
                <c:pt idx="0">
                  <c:v>108.18749999999901</c:v>
                </c:pt>
                <c:pt idx="1">
                  <c:v>111.245</c:v>
                </c:pt>
                <c:pt idx="2">
                  <c:v>110.51333333333299</c:v>
                </c:pt>
                <c:pt idx="3">
                  <c:v>109.41500000000001</c:v>
                </c:pt>
                <c:pt idx="4">
                  <c:v>109.898333333333</c:v>
                </c:pt>
                <c:pt idx="5">
                  <c:v>111.870833333333</c:v>
                </c:pt>
                <c:pt idx="6">
                  <c:v>108.64100000000001</c:v>
                </c:pt>
                <c:pt idx="7">
                  <c:v>112.47499999999999</c:v>
                </c:pt>
                <c:pt idx="8">
                  <c:v>111.09333333333301</c:v>
                </c:pt>
                <c:pt idx="9">
                  <c:v>111.433636363636</c:v>
                </c:pt>
                <c:pt idx="10">
                  <c:v>110.70699999999999</c:v>
                </c:pt>
                <c:pt idx="11">
                  <c:v>108.410833333333</c:v>
                </c:pt>
                <c:pt idx="12">
                  <c:v>110.37583333333301</c:v>
                </c:pt>
                <c:pt idx="13">
                  <c:v>110.207499999999</c:v>
                </c:pt>
                <c:pt idx="14">
                  <c:v>111.74</c:v>
                </c:pt>
                <c:pt idx="15">
                  <c:v>111.213333333333</c:v>
                </c:pt>
                <c:pt idx="16">
                  <c:v>108.96833333333301</c:v>
                </c:pt>
                <c:pt idx="17">
                  <c:v>109.2625</c:v>
                </c:pt>
                <c:pt idx="18">
                  <c:v>110.199</c:v>
                </c:pt>
                <c:pt idx="19">
                  <c:v>111.273333333333</c:v>
                </c:pt>
                <c:pt idx="20">
                  <c:v>109.4875</c:v>
                </c:pt>
                <c:pt idx="21">
                  <c:v>110.505</c:v>
                </c:pt>
                <c:pt idx="22">
                  <c:v>109.098333333333</c:v>
                </c:pt>
                <c:pt idx="23">
                  <c:v>110.826666666666</c:v>
                </c:pt>
                <c:pt idx="24">
                  <c:v>111.049166666666</c:v>
                </c:pt>
                <c:pt idx="25">
                  <c:v>109.829166666666</c:v>
                </c:pt>
                <c:pt idx="26">
                  <c:v>110.7</c:v>
                </c:pt>
                <c:pt idx="27">
                  <c:v>109.087499999999</c:v>
                </c:pt>
                <c:pt idx="28">
                  <c:v>109.721666666666</c:v>
                </c:pt>
                <c:pt idx="29">
                  <c:v>111.22666666666601</c:v>
                </c:pt>
                <c:pt idx="30">
                  <c:v>112.73</c:v>
                </c:pt>
                <c:pt idx="31">
                  <c:v>111.52500000000001</c:v>
                </c:pt>
                <c:pt idx="32">
                  <c:v>110.448333333333</c:v>
                </c:pt>
                <c:pt idx="33">
                  <c:v>109.19416666666601</c:v>
                </c:pt>
                <c:pt idx="34">
                  <c:v>112.33750000000001</c:v>
                </c:pt>
                <c:pt idx="35">
                  <c:v>109.47499999999999</c:v>
                </c:pt>
                <c:pt idx="36">
                  <c:v>109.98857142857101</c:v>
                </c:pt>
                <c:pt idx="37">
                  <c:v>110.447499999999</c:v>
                </c:pt>
                <c:pt idx="38">
                  <c:v>109.126666666666</c:v>
                </c:pt>
                <c:pt idx="39">
                  <c:v>111.745833333333</c:v>
                </c:pt>
                <c:pt idx="40">
                  <c:v>110.930833333333</c:v>
                </c:pt>
                <c:pt idx="41">
                  <c:v>110.345833333333</c:v>
                </c:pt>
                <c:pt idx="42">
                  <c:v>110.689999999999</c:v>
                </c:pt>
                <c:pt idx="43">
                  <c:v>111.839166666666</c:v>
                </c:pt>
                <c:pt idx="44">
                  <c:v>111.34083333333299</c:v>
                </c:pt>
                <c:pt idx="45">
                  <c:v>111.143333333333</c:v>
                </c:pt>
                <c:pt idx="46">
                  <c:v>110.728181818181</c:v>
                </c:pt>
                <c:pt idx="47">
                  <c:v>110.1</c:v>
                </c:pt>
                <c:pt idx="48">
                  <c:v>111.549166666666</c:v>
                </c:pt>
                <c:pt idx="49">
                  <c:v>110.77</c:v>
                </c:pt>
                <c:pt idx="50">
                  <c:v>109.4325</c:v>
                </c:pt>
                <c:pt idx="51">
                  <c:v>110.096666666666</c:v>
                </c:pt>
                <c:pt idx="52">
                  <c:v>110.041666666666</c:v>
                </c:pt>
                <c:pt idx="53">
                  <c:v>111.23916666666599</c:v>
                </c:pt>
                <c:pt idx="54">
                  <c:v>110.66</c:v>
                </c:pt>
                <c:pt idx="55">
                  <c:v>110.686666666666</c:v>
                </c:pt>
                <c:pt idx="56">
                  <c:v>110.626666666666</c:v>
                </c:pt>
                <c:pt idx="57">
                  <c:v>111.21833333333301</c:v>
                </c:pt>
                <c:pt idx="58">
                  <c:v>110.458333333333</c:v>
                </c:pt>
                <c:pt idx="59">
                  <c:v>109.5825</c:v>
                </c:pt>
                <c:pt idx="60">
                  <c:v>110.05416666666601</c:v>
                </c:pt>
                <c:pt idx="61">
                  <c:v>110.781666666666</c:v>
                </c:pt>
                <c:pt idx="62">
                  <c:v>112.41</c:v>
                </c:pt>
                <c:pt idx="63">
                  <c:v>110.198333333333</c:v>
                </c:pt>
                <c:pt idx="64">
                  <c:v>110.21749999999901</c:v>
                </c:pt>
                <c:pt idx="65">
                  <c:v>110.13</c:v>
                </c:pt>
                <c:pt idx="66">
                  <c:v>109.869999999999</c:v>
                </c:pt>
                <c:pt idx="67">
                  <c:v>110.466666666666</c:v>
                </c:pt>
                <c:pt idx="68">
                  <c:v>110.5425</c:v>
                </c:pt>
                <c:pt idx="69">
                  <c:v>110.20083333333299</c:v>
                </c:pt>
                <c:pt idx="70">
                  <c:v>111.087499999999</c:v>
                </c:pt>
                <c:pt idx="71">
                  <c:v>111.925833333333</c:v>
                </c:pt>
                <c:pt idx="72">
                  <c:v>112.255</c:v>
                </c:pt>
                <c:pt idx="73">
                  <c:v>109.486666666666</c:v>
                </c:pt>
                <c:pt idx="74">
                  <c:v>109.698333333333</c:v>
                </c:pt>
                <c:pt idx="75">
                  <c:v>111.64666666666599</c:v>
                </c:pt>
                <c:pt idx="76">
                  <c:v>111.567777777777</c:v>
                </c:pt>
                <c:pt idx="77">
                  <c:v>109.755833333333</c:v>
                </c:pt>
                <c:pt idx="78">
                  <c:v>109.17090909090901</c:v>
                </c:pt>
                <c:pt idx="79">
                  <c:v>111.13249999999999</c:v>
                </c:pt>
                <c:pt idx="80">
                  <c:v>109.654166666666</c:v>
                </c:pt>
                <c:pt idx="81">
                  <c:v>109.68</c:v>
                </c:pt>
                <c:pt idx="82">
                  <c:v>110.40583333333301</c:v>
                </c:pt>
                <c:pt idx="83">
                  <c:v>112.82250000000001</c:v>
                </c:pt>
                <c:pt idx="84">
                  <c:v>110.1425</c:v>
                </c:pt>
                <c:pt idx="85">
                  <c:v>109.690833333333</c:v>
                </c:pt>
                <c:pt idx="86">
                  <c:v>109.82583333333299</c:v>
                </c:pt>
                <c:pt idx="87">
                  <c:v>111.9975</c:v>
                </c:pt>
                <c:pt idx="88">
                  <c:v>111.880833333333</c:v>
                </c:pt>
                <c:pt idx="89">
                  <c:v>112.26333333333299</c:v>
                </c:pt>
                <c:pt idx="90">
                  <c:v>110.1575</c:v>
                </c:pt>
                <c:pt idx="91">
                  <c:v>111.238333333333</c:v>
                </c:pt>
                <c:pt idx="92">
                  <c:v>110.713333333333</c:v>
                </c:pt>
                <c:pt idx="93">
                  <c:v>109.839166666666</c:v>
                </c:pt>
                <c:pt idx="94">
                  <c:v>111.431666666666</c:v>
                </c:pt>
                <c:pt idx="95">
                  <c:v>111.12583333333301</c:v>
                </c:pt>
                <c:pt idx="96">
                  <c:v>111.320999999999</c:v>
                </c:pt>
                <c:pt idx="97">
                  <c:v>111.66500000000001</c:v>
                </c:pt>
                <c:pt idx="98">
                  <c:v>111.086249999999</c:v>
                </c:pt>
                <c:pt idx="99">
                  <c:v>110.28916666666601</c:v>
                </c:pt>
                <c:pt idx="100">
                  <c:v>111.447499999999</c:v>
                </c:pt>
                <c:pt idx="101">
                  <c:v>111.65249999999899</c:v>
                </c:pt>
                <c:pt idx="102">
                  <c:v>110.511666666666</c:v>
                </c:pt>
                <c:pt idx="103">
                  <c:v>111.26</c:v>
                </c:pt>
                <c:pt idx="104">
                  <c:v>108.296666666666</c:v>
                </c:pt>
                <c:pt idx="105">
                  <c:v>110.400833333333</c:v>
                </c:pt>
                <c:pt idx="106">
                  <c:v>109.86499999999999</c:v>
                </c:pt>
                <c:pt idx="107">
                  <c:v>110.74250000000001</c:v>
                </c:pt>
                <c:pt idx="108">
                  <c:v>110.730833333333</c:v>
                </c:pt>
                <c:pt idx="109">
                  <c:v>108.71583333333299</c:v>
                </c:pt>
                <c:pt idx="110">
                  <c:v>109.44750000000001</c:v>
                </c:pt>
                <c:pt idx="111">
                  <c:v>111.644999999999</c:v>
                </c:pt>
                <c:pt idx="112">
                  <c:v>111.01499999999901</c:v>
                </c:pt>
                <c:pt idx="113">
                  <c:v>110.439166666666</c:v>
                </c:pt>
                <c:pt idx="114">
                  <c:v>109.7925</c:v>
                </c:pt>
                <c:pt idx="115">
                  <c:v>110.529166666666</c:v>
                </c:pt>
                <c:pt idx="116">
                  <c:v>110.634166666666</c:v>
                </c:pt>
                <c:pt idx="117">
                  <c:v>109.00416666666599</c:v>
                </c:pt>
                <c:pt idx="118">
                  <c:v>110.425</c:v>
                </c:pt>
                <c:pt idx="119">
                  <c:v>110.660833333333</c:v>
                </c:pt>
                <c:pt idx="120">
                  <c:v>110.2175</c:v>
                </c:pt>
                <c:pt idx="121">
                  <c:v>109.52249999999999</c:v>
                </c:pt>
                <c:pt idx="122">
                  <c:v>111.56</c:v>
                </c:pt>
                <c:pt idx="123">
                  <c:v>108.58</c:v>
                </c:pt>
                <c:pt idx="124">
                  <c:v>110.815833333333</c:v>
                </c:pt>
                <c:pt idx="125">
                  <c:v>110.408333333333</c:v>
                </c:pt>
                <c:pt idx="126">
                  <c:v>111.223333333333</c:v>
                </c:pt>
                <c:pt idx="127">
                  <c:v>109.50083333333301</c:v>
                </c:pt>
                <c:pt idx="128">
                  <c:v>111.568888888888</c:v>
                </c:pt>
                <c:pt idx="129">
                  <c:v>109.425</c:v>
                </c:pt>
                <c:pt idx="130">
                  <c:v>110.59399999999999</c:v>
                </c:pt>
                <c:pt idx="131">
                  <c:v>111.001666666666</c:v>
                </c:pt>
                <c:pt idx="132">
                  <c:v>110.672222222222</c:v>
                </c:pt>
                <c:pt idx="133">
                  <c:v>110.75083333333301</c:v>
                </c:pt>
                <c:pt idx="134">
                  <c:v>109.534545454545</c:v>
                </c:pt>
                <c:pt idx="135">
                  <c:v>111.82583333333299</c:v>
                </c:pt>
                <c:pt idx="136">
                  <c:v>109.93749999999901</c:v>
                </c:pt>
                <c:pt idx="137">
                  <c:v>110.033333333333</c:v>
                </c:pt>
                <c:pt idx="138">
                  <c:v>110.322499999999</c:v>
                </c:pt>
                <c:pt idx="139">
                  <c:v>112.010833333333</c:v>
                </c:pt>
                <c:pt idx="140">
                  <c:v>111.680833333333</c:v>
                </c:pt>
                <c:pt idx="141">
                  <c:v>110.705833333333</c:v>
                </c:pt>
                <c:pt idx="142">
                  <c:v>109.649999999999</c:v>
                </c:pt>
                <c:pt idx="143">
                  <c:v>110.38</c:v>
                </c:pt>
                <c:pt idx="144">
                  <c:v>112.07250000000001</c:v>
                </c:pt>
                <c:pt idx="145">
                  <c:v>110.425454545454</c:v>
                </c:pt>
                <c:pt idx="146">
                  <c:v>107.849</c:v>
                </c:pt>
                <c:pt idx="147">
                  <c:v>109.603333333333</c:v>
                </c:pt>
                <c:pt idx="148">
                  <c:v>110.65714285714201</c:v>
                </c:pt>
                <c:pt idx="149">
                  <c:v>110.18583333333299</c:v>
                </c:pt>
                <c:pt idx="150">
                  <c:v>108.954999999999</c:v>
                </c:pt>
                <c:pt idx="151">
                  <c:v>111.346666666666</c:v>
                </c:pt>
                <c:pt idx="152">
                  <c:v>109.24166666666601</c:v>
                </c:pt>
                <c:pt idx="153">
                  <c:v>110.784166666666</c:v>
                </c:pt>
                <c:pt idx="154">
                  <c:v>110.38166666666601</c:v>
                </c:pt>
                <c:pt idx="155">
                  <c:v>110.847499999999</c:v>
                </c:pt>
                <c:pt idx="156">
                  <c:v>110.451666666666</c:v>
                </c:pt>
                <c:pt idx="157">
                  <c:v>110.620833333333</c:v>
                </c:pt>
                <c:pt idx="158">
                  <c:v>110.66181818181801</c:v>
                </c:pt>
                <c:pt idx="159">
                  <c:v>109.99166666666601</c:v>
                </c:pt>
                <c:pt idx="160">
                  <c:v>111.17444444444401</c:v>
                </c:pt>
                <c:pt idx="161">
                  <c:v>111.35250000000001</c:v>
                </c:pt>
                <c:pt idx="162">
                  <c:v>111.416249999999</c:v>
                </c:pt>
                <c:pt idx="163">
                  <c:v>112.17400000000001</c:v>
                </c:pt>
                <c:pt idx="164">
                  <c:v>109.81</c:v>
                </c:pt>
                <c:pt idx="165">
                  <c:v>108.751818181818</c:v>
                </c:pt>
                <c:pt idx="166">
                  <c:v>112.31874999999999</c:v>
                </c:pt>
                <c:pt idx="167">
                  <c:v>110.475833333333</c:v>
                </c:pt>
                <c:pt idx="168">
                  <c:v>110.97571428571401</c:v>
                </c:pt>
                <c:pt idx="169">
                  <c:v>109.71583333333299</c:v>
                </c:pt>
                <c:pt idx="170">
                  <c:v>111.19416666666601</c:v>
                </c:pt>
                <c:pt idx="171">
                  <c:v>111.43833333333301</c:v>
                </c:pt>
                <c:pt idx="172">
                  <c:v>111.075555555555</c:v>
                </c:pt>
                <c:pt idx="173">
                  <c:v>111.92333333333301</c:v>
                </c:pt>
                <c:pt idx="174">
                  <c:v>109.86</c:v>
                </c:pt>
                <c:pt idx="175">
                  <c:v>111.73111111111101</c:v>
                </c:pt>
                <c:pt idx="176">
                  <c:v>109.65</c:v>
                </c:pt>
                <c:pt idx="177">
                  <c:v>109.64444444444401</c:v>
                </c:pt>
                <c:pt idx="178">
                  <c:v>113.766666666666</c:v>
                </c:pt>
                <c:pt idx="179">
                  <c:v>109.075</c:v>
                </c:pt>
                <c:pt idx="180">
                  <c:v>94.158333333333303</c:v>
                </c:pt>
                <c:pt idx="181">
                  <c:v>95.01</c:v>
                </c:pt>
                <c:pt idx="182">
                  <c:v>97.0042857142857</c:v>
                </c:pt>
                <c:pt idx="183">
                  <c:v>91.094999999999999</c:v>
                </c:pt>
                <c:pt idx="184">
                  <c:v>93.653333333333293</c:v>
                </c:pt>
                <c:pt idx="185">
                  <c:v>93.149999999999906</c:v>
                </c:pt>
                <c:pt idx="186">
                  <c:v>91.319166666666604</c:v>
                </c:pt>
                <c:pt idx="187">
                  <c:v>92.242499999999893</c:v>
                </c:pt>
                <c:pt idx="188">
                  <c:v>94.639999999999901</c:v>
                </c:pt>
                <c:pt idx="189">
                  <c:v>93.194166666666604</c:v>
                </c:pt>
                <c:pt idx="190">
                  <c:v>93.35</c:v>
                </c:pt>
                <c:pt idx="191">
                  <c:v>90.462500000000006</c:v>
                </c:pt>
                <c:pt idx="192">
                  <c:v>98.07</c:v>
                </c:pt>
                <c:pt idx="193">
                  <c:v>92.285833333333301</c:v>
                </c:pt>
                <c:pt idx="194">
                  <c:v>95.527499999999904</c:v>
                </c:pt>
                <c:pt idx="195">
                  <c:v>94.653333333333293</c:v>
                </c:pt>
                <c:pt idx="196">
                  <c:v>90.486666666666594</c:v>
                </c:pt>
                <c:pt idx="197">
                  <c:v>93.8391666666666</c:v>
                </c:pt>
                <c:pt idx="198">
                  <c:v>94.469166666666595</c:v>
                </c:pt>
                <c:pt idx="199">
                  <c:v>93.632499999999993</c:v>
                </c:pt>
                <c:pt idx="200">
                  <c:v>95.8958333333333</c:v>
                </c:pt>
                <c:pt idx="201">
                  <c:v>91.8391666666666</c:v>
                </c:pt>
                <c:pt idx="202">
                  <c:v>93.137499999999903</c:v>
                </c:pt>
                <c:pt idx="203">
                  <c:v>94.092500000000001</c:v>
                </c:pt>
                <c:pt idx="204">
                  <c:v>92.850833333333298</c:v>
                </c:pt>
                <c:pt idx="205">
                  <c:v>95.744166666666601</c:v>
                </c:pt>
                <c:pt idx="206">
                  <c:v>92.740833333333299</c:v>
                </c:pt>
                <c:pt idx="207">
                  <c:v>90.087500000000006</c:v>
                </c:pt>
                <c:pt idx="208">
                  <c:v>92.152499999999904</c:v>
                </c:pt>
                <c:pt idx="209">
                  <c:v>95.6875</c:v>
                </c:pt>
                <c:pt idx="210">
                  <c:v>91.192499999999995</c:v>
                </c:pt>
                <c:pt idx="211">
                  <c:v>93.9166666666666</c:v>
                </c:pt>
                <c:pt idx="212">
                  <c:v>90.254166666666606</c:v>
                </c:pt>
                <c:pt idx="213">
                  <c:v>93.100833333333298</c:v>
                </c:pt>
                <c:pt idx="214">
                  <c:v>96.163333333333298</c:v>
                </c:pt>
                <c:pt idx="215">
                  <c:v>92.972499999999997</c:v>
                </c:pt>
                <c:pt idx="216">
                  <c:v>88.909999999999897</c:v>
                </c:pt>
                <c:pt idx="217">
                  <c:v>93.142499999999899</c:v>
                </c:pt>
                <c:pt idx="218">
                  <c:v>93.240833333333299</c:v>
                </c:pt>
                <c:pt idx="219">
                  <c:v>91.870833333333294</c:v>
                </c:pt>
                <c:pt idx="220">
                  <c:v>92.873333333333306</c:v>
                </c:pt>
                <c:pt idx="221">
                  <c:v>88.707499999999996</c:v>
                </c:pt>
                <c:pt idx="222">
                  <c:v>92.928333333333299</c:v>
                </c:pt>
                <c:pt idx="223">
                  <c:v>94.216666666666598</c:v>
                </c:pt>
                <c:pt idx="224">
                  <c:v>90.968333333333305</c:v>
                </c:pt>
                <c:pt idx="225">
                  <c:v>93.7708333333333</c:v>
                </c:pt>
                <c:pt idx="226">
                  <c:v>97.500833333333304</c:v>
                </c:pt>
                <c:pt idx="227">
                  <c:v>95.994166666666601</c:v>
                </c:pt>
                <c:pt idx="228">
                  <c:v>92.954166666666595</c:v>
                </c:pt>
                <c:pt idx="229">
                  <c:v>93.922499999999999</c:v>
                </c:pt>
                <c:pt idx="230">
                  <c:v>94.066666666666606</c:v>
                </c:pt>
                <c:pt idx="231">
                  <c:v>91.638333333333307</c:v>
                </c:pt>
                <c:pt idx="232">
                  <c:v>92.293333333333294</c:v>
                </c:pt>
                <c:pt idx="233">
                  <c:v>90.272499999999994</c:v>
                </c:pt>
                <c:pt idx="234">
                  <c:v>96.438333333333304</c:v>
                </c:pt>
                <c:pt idx="235">
                  <c:v>93.667500000000004</c:v>
                </c:pt>
                <c:pt idx="236">
                  <c:v>90.662222222222198</c:v>
                </c:pt>
                <c:pt idx="237">
                  <c:v>93.676666666666605</c:v>
                </c:pt>
                <c:pt idx="238">
                  <c:v>89.397142857142796</c:v>
                </c:pt>
                <c:pt idx="239">
                  <c:v>93.325833333333307</c:v>
                </c:pt>
                <c:pt idx="240">
                  <c:v>95.897499999999994</c:v>
                </c:pt>
                <c:pt idx="241">
                  <c:v>91.956363636363605</c:v>
                </c:pt>
                <c:pt idx="242">
                  <c:v>92.462857142857104</c:v>
                </c:pt>
                <c:pt idx="243">
                  <c:v>95.384999999999906</c:v>
                </c:pt>
                <c:pt idx="244">
                  <c:v>90.847499999999997</c:v>
                </c:pt>
                <c:pt idx="245">
                  <c:v>93.663333333333298</c:v>
                </c:pt>
                <c:pt idx="246">
                  <c:v>90.486666666666594</c:v>
                </c:pt>
                <c:pt idx="247">
                  <c:v>97.206363636363605</c:v>
                </c:pt>
                <c:pt idx="248">
                  <c:v>95.418333333333294</c:v>
                </c:pt>
                <c:pt idx="249">
                  <c:v>96.343333333333305</c:v>
                </c:pt>
                <c:pt idx="250">
                  <c:v>91.496666666666599</c:v>
                </c:pt>
                <c:pt idx="251">
                  <c:v>93.445833333333297</c:v>
                </c:pt>
                <c:pt idx="252">
                  <c:v>98.274999999999906</c:v>
                </c:pt>
                <c:pt idx="253">
                  <c:v>94.355999999999995</c:v>
                </c:pt>
                <c:pt idx="254">
                  <c:v>93.0085714285714</c:v>
                </c:pt>
                <c:pt idx="255">
                  <c:v>94.266666666666595</c:v>
                </c:pt>
                <c:pt idx="256">
                  <c:v>94.058333333333294</c:v>
                </c:pt>
                <c:pt idx="257">
                  <c:v>94.706666666666607</c:v>
                </c:pt>
                <c:pt idx="258">
                  <c:v>92.304999999999893</c:v>
                </c:pt>
                <c:pt idx="259">
                  <c:v>91.306666666666601</c:v>
                </c:pt>
                <c:pt idx="260">
                  <c:v>90.8958333333333</c:v>
                </c:pt>
                <c:pt idx="261">
                  <c:v>92.348333333333301</c:v>
                </c:pt>
                <c:pt idx="262">
                  <c:v>95.63</c:v>
                </c:pt>
                <c:pt idx="263">
                  <c:v>93.398181818181797</c:v>
                </c:pt>
                <c:pt idx="264">
                  <c:v>96.203749999999999</c:v>
                </c:pt>
                <c:pt idx="265">
                  <c:v>94.444166666666604</c:v>
                </c:pt>
                <c:pt idx="266">
                  <c:v>92.017499999999998</c:v>
                </c:pt>
                <c:pt idx="267">
                  <c:v>95.212499999999906</c:v>
                </c:pt>
                <c:pt idx="268">
                  <c:v>95.262222222222206</c:v>
                </c:pt>
                <c:pt idx="269">
                  <c:v>92.738333333333301</c:v>
                </c:pt>
                <c:pt idx="270">
                  <c:v>96.783749999999998</c:v>
                </c:pt>
                <c:pt idx="271">
                  <c:v>94.048333333333304</c:v>
                </c:pt>
                <c:pt idx="272">
                  <c:v>91.727272727272705</c:v>
                </c:pt>
                <c:pt idx="273">
                  <c:v>92.79</c:v>
                </c:pt>
                <c:pt idx="274">
                  <c:v>91.99</c:v>
                </c:pt>
                <c:pt idx="275">
                  <c:v>90.05</c:v>
                </c:pt>
                <c:pt idx="276">
                  <c:v>93.491666666666603</c:v>
                </c:pt>
                <c:pt idx="277">
                  <c:v>90.999166666666596</c:v>
                </c:pt>
                <c:pt idx="278">
                  <c:v>93.266666666666595</c:v>
                </c:pt>
                <c:pt idx="279">
                  <c:v>91.999166666666596</c:v>
                </c:pt>
                <c:pt idx="280">
                  <c:v>90.307500000000005</c:v>
                </c:pt>
                <c:pt idx="281">
                  <c:v>91.424166666666594</c:v>
                </c:pt>
                <c:pt idx="282">
                  <c:v>92.987499999999997</c:v>
                </c:pt>
                <c:pt idx="283">
                  <c:v>96.709166666666604</c:v>
                </c:pt>
                <c:pt idx="284">
                  <c:v>94.152500000000003</c:v>
                </c:pt>
                <c:pt idx="285">
                  <c:v>94.873333333333306</c:v>
                </c:pt>
                <c:pt idx="286">
                  <c:v>95.133333333333297</c:v>
                </c:pt>
                <c:pt idx="287">
                  <c:v>93.0208333333333</c:v>
                </c:pt>
                <c:pt idx="288">
                  <c:v>96.294285714285706</c:v>
                </c:pt>
                <c:pt idx="289">
                  <c:v>94.922499999999999</c:v>
                </c:pt>
                <c:pt idx="290">
                  <c:v>92.642499999999998</c:v>
                </c:pt>
                <c:pt idx="291">
                  <c:v>93.298333333333304</c:v>
                </c:pt>
                <c:pt idx="292">
                  <c:v>90.047499999999999</c:v>
                </c:pt>
                <c:pt idx="293">
                  <c:v>93.348333333333301</c:v>
                </c:pt>
                <c:pt idx="294">
                  <c:v>91.872500000000002</c:v>
                </c:pt>
                <c:pt idx="295">
                  <c:v>89.765833333333305</c:v>
                </c:pt>
                <c:pt idx="296">
                  <c:v>93.4583333333333</c:v>
                </c:pt>
                <c:pt idx="297">
                  <c:v>91.805833333333297</c:v>
                </c:pt>
                <c:pt idx="298">
                  <c:v>94.952222222222204</c:v>
                </c:pt>
                <c:pt idx="299">
                  <c:v>95.894166666666607</c:v>
                </c:pt>
                <c:pt idx="300">
                  <c:v>90.924999999999997</c:v>
                </c:pt>
                <c:pt idx="301">
                  <c:v>91.3272727272727</c:v>
                </c:pt>
                <c:pt idx="302">
                  <c:v>89.527999999999906</c:v>
                </c:pt>
                <c:pt idx="303">
                  <c:v>95.992499999999893</c:v>
                </c:pt>
                <c:pt idx="304">
                  <c:v>95.757499999999993</c:v>
                </c:pt>
                <c:pt idx="305">
                  <c:v>88.090833333333293</c:v>
                </c:pt>
                <c:pt idx="306">
                  <c:v>91.118888888888804</c:v>
                </c:pt>
                <c:pt idx="307">
                  <c:v>88.774166666666602</c:v>
                </c:pt>
                <c:pt idx="308">
                  <c:v>91.893333333333302</c:v>
                </c:pt>
                <c:pt idx="309">
                  <c:v>91.952500000000001</c:v>
                </c:pt>
                <c:pt idx="310">
                  <c:v>94.504999999999995</c:v>
                </c:pt>
                <c:pt idx="311">
                  <c:v>91.514999999999901</c:v>
                </c:pt>
                <c:pt idx="312">
                  <c:v>92.745000000000005</c:v>
                </c:pt>
                <c:pt idx="313">
                  <c:v>89.092499999999902</c:v>
                </c:pt>
                <c:pt idx="314">
                  <c:v>98.242499999999893</c:v>
                </c:pt>
                <c:pt idx="315">
                  <c:v>93.010833333333295</c:v>
                </c:pt>
                <c:pt idx="316">
                  <c:v>92.356666666666598</c:v>
                </c:pt>
                <c:pt idx="317">
                  <c:v>93.078333333333305</c:v>
                </c:pt>
                <c:pt idx="318">
                  <c:v>92.907499999999899</c:v>
                </c:pt>
                <c:pt idx="319">
                  <c:v>92.074999999999903</c:v>
                </c:pt>
                <c:pt idx="320">
                  <c:v>90.574166666666599</c:v>
                </c:pt>
                <c:pt idx="321">
                  <c:v>91.566666666666606</c:v>
                </c:pt>
                <c:pt idx="322">
                  <c:v>90.649999999999906</c:v>
                </c:pt>
                <c:pt idx="323">
                  <c:v>93.179999999999893</c:v>
                </c:pt>
                <c:pt idx="324">
                  <c:v>92.728999999999999</c:v>
                </c:pt>
                <c:pt idx="325">
                  <c:v>91.346666666666593</c:v>
                </c:pt>
                <c:pt idx="326">
                  <c:v>97.366666666666603</c:v>
                </c:pt>
                <c:pt idx="327">
                  <c:v>90.375833333333304</c:v>
                </c:pt>
                <c:pt idx="328">
                  <c:v>87.474999999999994</c:v>
                </c:pt>
                <c:pt idx="329">
                  <c:v>94.589999999999904</c:v>
                </c:pt>
                <c:pt idx="330">
                  <c:v>92.352500000000006</c:v>
                </c:pt>
                <c:pt idx="331">
                  <c:v>93.919166666666598</c:v>
                </c:pt>
                <c:pt idx="332">
                  <c:v>92.703333333333305</c:v>
                </c:pt>
                <c:pt idx="333">
                  <c:v>89.927499999999995</c:v>
                </c:pt>
                <c:pt idx="334">
                  <c:v>92.654999999999902</c:v>
                </c:pt>
                <c:pt idx="335">
                  <c:v>93.805833333333297</c:v>
                </c:pt>
                <c:pt idx="336">
                  <c:v>91.402500000000003</c:v>
                </c:pt>
                <c:pt idx="337">
                  <c:v>92.496666666666599</c:v>
                </c:pt>
                <c:pt idx="338">
                  <c:v>90.926666666666605</c:v>
                </c:pt>
                <c:pt idx="339">
                  <c:v>95.913333333333298</c:v>
                </c:pt>
                <c:pt idx="340">
                  <c:v>92.822500000000005</c:v>
                </c:pt>
                <c:pt idx="341">
                  <c:v>93.805833333333297</c:v>
                </c:pt>
                <c:pt idx="342">
                  <c:v>96.0555555555555</c:v>
                </c:pt>
                <c:pt idx="343">
                  <c:v>91.576666666666597</c:v>
                </c:pt>
                <c:pt idx="344">
                  <c:v>90.302499999999995</c:v>
                </c:pt>
                <c:pt idx="345">
                  <c:v>93.009166666666601</c:v>
                </c:pt>
                <c:pt idx="346">
                  <c:v>95.102000000000004</c:v>
                </c:pt>
                <c:pt idx="347">
                  <c:v>93.831666666666607</c:v>
                </c:pt>
                <c:pt idx="348">
                  <c:v>92.270909090909001</c:v>
                </c:pt>
                <c:pt idx="349">
                  <c:v>95.849166666666605</c:v>
                </c:pt>
                <c:pt idx="350">
                  <c:v>92.894999999999897</c:v>
                </c:pt>
                <c:pt idx="351">
                  <c:v>97.459166666666604</c:v>
                </c:pt>
                <c:pt idx="352">
                  <c:v>90.898333333333298</c:v>
                </c:pt>
                <c:pt idx="353">
                  <c:v>92.4224999999999</c:v>
                </c:pt>
                <c:pt idx="354">
                  <c:v>96.047499999999999</c:v>
                </c:pt>
                <c:pt idx="355">
                  <c:v>92.858333333333306</c:v>
                </c:pt>
                <c:pt idx="356">
                  <c:v>96.7766666666666</c:v>
                </c:pt>
                <c:pt idx="357">
                  <c:v>93.782499999999999</c:v>
                </c:pt>
                <c:pt idx="358">
                  <c:v>91.845833333333303</c:v>
                </c:pt>
                <c:pt idx="359">
                  <c:v>94.476666666666603</c:v>
                </c:pt>
                <c:pt idx="360">
                  <c:v>95.429999999999893</c:v>
                </c:pt>
                <c:pt idx="361">
                  <c:v>92.961666666666602</c:v>
                </c:pt>
                <c:pt idx="362">
                  <c:v>94.661249999999995</c:v>
                </c:pt>
                <c:pt idx="363">
                  <c:v>91.629166666666606</c:v>
                </c:pt>
                <c:pt idx="364">
                  <c:v>93.872500000000002</c:v>
                </c:pt>
                <c:pt idx="365">
                  <c:v>94.749166666666596</c:v>
                </c:pt>
                <c:pt idx="366">
                  <c:v>94.245000000000005</c:v>
                </c:pt>
                <c:pt idx="367">
                  <c:v>90.465000000000003</c:v>
                </c:pt>
                <c:pt idx="368">
                  <c:v>94.051666666666605</c:v>
                </c:pt>
                <c:pt idx="369">
                  <c:v>94.584166666666604</c:v>
                </c:pt>
                <c:pt idx="370">
                  <c:v>90.363333333333301</c:v>
                </c:pt>
                <c:pt idx="371">
                  <c:v>94.014166666666597</c:v>
                </c:pt>
                <c:pt idx="372">
                  <c:v>91.417500000000004</c:v>
                </c:pt>
                <c:pt idx="373">
                  <c:v>94.453333333333305</c:v>
                </c:pt>
                <c:pt idx="374">
                  <c:v>94.170833333333306</c:v>
                </c:pt>
                <c:pt idx="375">
                  <c:v>93.12</c:v>
                </c:pt>
                <c:pt idx="376">
                  <c:v>96.348333333333301</c:v>
                </c:pt>
                <c:pt idx="377">
                  <c:v>92.232500000000002</c:v>
                </c:pt>
                <c:pt idx="378">
                  <c:v>95.015833333333305</c:v>
                </c:pt>
                <c:pt idx="379">
                  <c:v>93.649166666666602</c:v>
                </c:pt>
                <c:pt idx="380">
                  <c:v>93.278333333333293</c:v>
                </c:pt>
                <c:pt idx="381">
                  <c:v>92.955833333333302</c:v>
                </c:pt>
                <c:pt idx="382">
                  <c:v>90.924166666666594</c:v>
                </c:pt>
                <c:pt idx="383">
                  <c:v>92.703333333333305</c:v>
                </c:pt>
                <c:pt idx="384">
                  <c:v>93.4016666666666</c:v>
                </c:pt>
                <c:pt idx="385">
                  <c:v>90.633333333333297</c:v>
                </c:pt>
                <c:pt idx="386">
                  <c:v>92.266666666666595</c:v>
                </c:pt>
                <c:pt idx="387">
                  <c:v>91.115833333333299</c:v>
                </c:pt>
                <c:pt idx="388">
                  <c:v>92.415833333333296</c:v>
                </c:pt>
                <c:pt idx="389">
                  <c:v>94.924166666666594</c:v>
                </c:pt>
                <c:pt idx="390">
                  <c:v>86.441666666666606</c:v>
                </c:pt>
                <c:pt idx="391">
                  <c:v>93.585833333333298</c:v>
                </c:pt>
                <c:pt idx="392">
                  <c:v>91.088333333333296</c:v>
                </c:pt>
                <c:pt idx="393">
                  <c:v>89.025833333333296</c:v>
                </c:pt>
                <c:pt idx="394">
                  <c:v>92.524166666666602</c:v>
                </c:pt>
                <c:pt idx="395">
                  <c:v>90.219166666666595</c:v>
                </c:pt>
                <c:pt idx="396">
                  <c:v>93.884166666666601</c:v>
                </c:pt>
                <c:pt idx="397">
                  <c:v>93.745833333333294</c:v>
                </c:pt>
                <c:pt idx="398">
                  <c:v>95.747499999999903</c:v>
                </c:pt>
                <c:pt idx="399">
                  <c:v>90.974166666666605</c:v>
                </c:pt>
                <c:pt idx="400">
                  <c:v>94.1666666666666</c:v>
                </c:pt>
                <c:pt idx="401">
                  <c:v>96.384166666666601</c:v>
                </c:pt>
                <c:pt idx="402">
                  <c:v>94.815833333333302</c:v>
                </c:pt>
                <c:pt idx="403">
                  <c:v>95.547499999999999</c:v>
                </c:pt>
                <c:pt idx="404">
                  <c:v>90.974999999999895</c:v>
                </c:pt>
                <c:pt idx="405">
                  <c:v>92.144166666666607</c:v>
                </c:pt>
                <c:pt idx="406">
                  <c:v>91.504444444444403</c:v>
                </c:pt>
                <c:pt idx="407">
                  <c:v>94.920833333333306</c:v>
                </c:pt>
                <c:pt idx="408">
                  <c:v>95.2141666666666</c:v>
                </c:pt>
                <c:pt idx="409">
                  <c:v>94.086666666666602</c:v>
                </c:pt>
                <c:pt idx="410">
                  <c:v>92.909999999999897</c:v>
                </c:pt>
                <c:pt idx="411">
                  <c:v>92.474166666666605</c:v>
                </c:pt>
                <c:pt idx="412">
                  <c:v>89.757499999999993</c:v>
                </c:pt>
                <c:pt idx="413">
                  <c:v>93.077499999999901</c:v>
                </c:pt>
                <c:pt idx="414">
                  <c:v>90.888333333333307</c:v>
                </c:pt>
                <c:pt idx="415">
                  <c:v>93.18</c:v>
                </c:pt>
                <c:pt idx="416">
                  <c:v>92.563333333333304</c:v>
                </c:pt>
                <c:pt idx="417">
                  <c:v>94.260833333333295</c:v>
                </c:pt>
                <c:pt idx="418">
                  <c:v>88.240833333333299</c:v>
                </c:pt>
                <c:pt idx="419">
                  <c:v>92.031666666666595</c:v>
                </c:pt>
                <c:pt idx="420">
                  <c:v>92.867500000000007</c:v>
                </c:pt>
                <c:pt idx="421">
                  <c:v>91.5416666666666</c:v>
                </c:pt>
                <c:pt idx="422">
                  <c:v>94.8541666666666</c:v>
                </c:pt>
                <c:pt idx="423">
                  <c:v>90.887500000000003</c:v>
                </c:pt>
                <c:pt idx="424">
                  <c:v>92.579166666666595</c:v>
                </c:pt>
                <c:pt idx="425">
                  <c:v>95.422499999999999</c:v>
                </c:pt>
                <c:pt idx="426">
                  <c:v>94.640833333333305</c:v>
                </c:pt>
                <c:pt idx="427">
                  <c:v>94.069166666666604</c:v>
                </c:pt>
                <c:pt idx="428">
                  <c:v>91.788333333333298</c:v>
                </c:pt>
                <c:pt idx="429">
                  <c:v>88.107500000000002</c:v>
                </c:pt>
                <c:pt idx="430">
                  <c:v>92.053333333333299</c:v>
                </c:pt>
                <c:pt idx="431">
                  <c:v>94.427499999999995</c:v>
                </c:pt>
                <c:pt idx="432">
                  <c:v>94.785833333333301</c:v>
                </c:pt>
                <c:pt idx="433">
                  <c:v>92.864999999999995</c:v>
                </c:pt>
                <c:pt idx="434">
                  <c:v>91.605833333333294</c:v>
                </c:pt>
                <c:pt idx="435">
                  <c:v>94.448333333333295</c:v>
                </c:pt>
                <c:pt idx="436">
                  <c:v>89.094999999999899</c:v>
                </c:pt>
                <c:pt idx="437">
                  <c:v>95.37</c:v>
                </c:pt>
                <c:pt idx="438">
                  <c:v>92.759166666666601</c:v>
                </c:pt>
                <c:pt idx="439">
                  <c:v>96.861666666666594</c:v>
                </c:pt>
                <c:pt idx="440">
                  <c:v>92.893333333333302</c:v>
                </c:pt>
                <c:pt idx="441">
                  <c:v>91.62</c:v>
                </c:pt>
                <c:pt idx="442">
                  <c:v>95.988333333333301</c:v>
                </c:pt>
                <c:pt idx="443">
                  <c:v>94.588333333333296</c:v>
                </c:pt>
                <c:pt idx="444">
                  <c:v>94.031666666666595</c:v>
                </c:pt>
                <c:pt idx="445">
                  <c:v>93.4166666666666</c:v>
                </c:pt>
                <c:pt idx="446">
                  <c:v>91.315833333333302</c:v>
                </c:pt>
                <c:pt idx="447">
                  <c:v>93.227500000000006</c:v>
                </c:pt>
                <c:pt idx="448">
                  <c:v>95.254999999999995</c:v>
                </c:pt>
                <c:pt idx="449">
                  <c:v>95.577500000000001</c:v>
                </c:pt>
                <c:pt idx="450">
                  <c:v>92.415000000000006</c:v>
                </c:pt>
                <c:pt idx="451">
                  <c:v>95.493333333333297</c:v>
                </c:pt>
                <c:pt idx="452">
                  <c:v>94.879166666666606</c:v>
                </c:pt>
                <c:pt idx="453">
                  <c:v>91.33</c:v>
                </c:pt>
                <c:pt idx="454">
                  <c:v>92.034999999999997</c:v>
                </c:pt>
                <c:pt idx="455">
                  <c:v>93.301666666666605</c:v>
                </c:pt>
                <c:pt idx="456">
                  <c:v>92.251666666666594</c:v>
                </c:pt>
                <c:pt idx="457">
                  <c:v>93.829166666666595</c:v>
                </c:pt>
                <c:pt idx="458">
                  <c:v>96.950833333333307</c:v>
                </c:pt>
                <c:pt idx="459">
                  <c:v>89.111666666666594</c:v>
                </c:pt>
                <c:pt idx="460">
                  <c:v>93.700833333333307</c:v>
                </c:pt>
                <c:pt idx="461">
                  <c:v>91.821666666666601</c:v>
                </c:pt>
                <c:pt idx="462">
                  <c:v>91.176666666666605</c:v>
                </c:pt>
                <c:pt idx="463">
                  <c:v>93.967499999999902</c:v>
                </c:pt>
                <c:pt idx="464">
                  <c:v>96.016666666666694</c:v>
                </c:pt>
                <c:pt idx="465">
                  <c:v>93.3</c:v>
                </c:pt>
                <c:pt idx="466">
                  <c:v>93.487272727272696</c:v>
                </c:pt>
                <c:pt idx="467">
                  <c:v>92.534166666666593</c:v>
                </c:pt>
                <c:pt idx="468">
                  <c:v>90.468333333333305</c:v>
                </c:pt>
                <c:pt idx="469">
                  <c:v>94.832499999999996</c:v>
                </c:pt>
                <c:pt idx="470">
                  <c:v>95.144999999999996</c:v>
                </c:pt>
                <c:pt idx="471">
                  <c:v>93.267499999999998</c:v>
                </c:pt>
                <c:pt idx="472">
                  <c:v>94.013333333333307</c:v>
                </c:pt>
                <c:pt idx="473">
                  <c:v>95.63</c:v>
                </c:pt>
                <c:pt idx="474">
                  <c:v>92.195833333333297</c:v>
                </c:pt>
                <c:pt idx="475">
                  <c:v>91.516666666666595</c:v>
                </c:pt>
                <c:pt idx="476">
                  <c:v>94.718333333333305</c:v>
                </c:pt>
                <c:pt idx="477">
                  <c:v>93.7083333333333</c:v>
                </c:pt>
                <c:pt idx="478">
                  <c:v>88.927499999999995</c:v>
                </c:pt>
                <c:pt idx="479">
                  <c:v>92.028333333333293</c:v>
                </c:pt>
                <c:pt idx="480">
                  <c:v>93.161666666666605</c:v>
                </c:pt>
                <c:pt idx="481">
                  <c:v>94.2766666666666</c:v>
                </c:pt>
                <c:pt idx="482">
                  <c:v>89.2083333333333</c:v>
                </c:pt>
                <c:pt idx="483">
                  <c:v>94.743333333333297</c:v>
                </c:pt>
                <c:pt idx="484">
                  <c:v>89.875833333333304</c:v>
                </c:pt>
                <c:pt idx="485">
                  <c:v>90.906666666666595</c:v>
                </c:pt>
                <c:pt idx="486">
                  <c:v>94.0058333333333</c:v>
                </c:pt>
                <c:pt idx="487">
                  <c:v>92.414166666666603</c:v>
                </c:pt>
                <c:pt idx="488">
                  <c:v>92.831666666666607</c:v>
                </c:pt>
                <c:pt idx="489">
                  <c:v>92.375</c:v>
                </c:pt>
                <c:pt idx="490">
                  <c:v>89.369166666666601</c:v>
                </c:pt>
                <c:pt idx="491">
                  <c:v>93.370833333333294</c:v>
                </c:pt>
                <c:pt idx="492">
                  <c:v>91.319166666666604</c:v>
                </c:pt>
                <c:pt idx="493">
                  <c:v>91.633333333333297</c:v>
                </c:pt>
                <c:pt idx="494">
                  <c:v>93.654166666666598</c:v>
                </c:pt>
                <c:pt idx="495">
                  <c:v>93.094999999999899</c:v>
                </c:pt>
                <c:pt idx="496">
                  <c:v>93.775000000000006</c:v>
                </c:pt>
                <c:pt idx="497">
                  <c:v>88.952500000000001</c:v>
                </c:pt>
                <c:pt idx="498">
                  <c:v>92.994166666666601</c:v>
                </c:pt>
                <c:pt idx="499">
                  <c:v>97.970833333333303</c:v>
                </c:pt>
                <c:pt idx="500">
                  <c:v>92.363333333333301</c:v>
                </c:pt>
                <c:pt idx="501">
                  <c:v>93.679166666666603</c:v>
                </c:pt>
                <c:pt idx="502">
                  <c:v>92.120833333333294</c:v>
                </c:pt>
                <c:pt idx="503">
                  <c:v>95.302499999999995</c:v>
                </c:pt>
                <c:pt idx="504">
                  <c:v>90.0416666666666</c:v>
                </c:pt>
                <c:pt idx="505">
                  <c:v>92.947499999999906</c:v>
                </c:pt>
                <c:pt idx="506">
                  <c:v>94.227500000000006</c:v>
                </c:pt>
                <c:pt idx="507">
                  <c:v>94.241666666666603</c:v>
                </c:pt>
                <c:pt idx="508">
                  <c:v>91.0266666666666</c:v>
                </c:pt>
                <c:pt idx="509">
                  <c:v>92.328333333333305</c:v>
                </c:pt>
                <c:pt idx="510">
                  <c:v>97.080833333333302</c:v>
                </c:pt>
                <c:pt idx="511">
                  <c:v>93.259999999999906</c:v>
                </c:pt>
                <c:pt idx="512">
                  <c:v>92.435833333333306</c:v>
                </c:pt>
                <c:pt idx="513">
                  <c:v>91.976666666666603</c:v>
                </c:pt>
                <c:pt idx="514">
                  <c:v>92.086666666666602</c:v>
                </c:pt>
                <c:pt idx="515">
                  <c:v>92.968333333333305</c:v>
                </c:pt>
                <c:pt idx="516">
                  <c:v>96.536666666666605</c:v>
                </c:pt>
                <c:pt idx="517">
                  <c:v>94.171666666666596</c:v>
                </c:pt>
                <c:pt idx="518">
                  <c:v>94.457499999999996</c:v>
                </c:pt>
                <c:pt idx="519">
                  <c:v>93.327499999999901</c:v>
                </c:pt>
                <c:pt idx="520">
                  <c:v>96.022499999999994</c:v>
                </c:pt>
                <c:pt idx="521">
                  <c:v>94.177499999999995</c:v>
                </c:pt>
                <c:pt idx="522">
                  <c:v>93.3125</c:v>
                </c:pt>
                <c:pt idx="523">
                  <c:v>92.627499999999998</c:v>
                </c:pt>
                <c:pt idx="524">
                  <c:v>93.024166666666602</c:v>
                </c:pt>
                <c:pt idx="525">
                  <c:v>92.092500000000001</c:v>
                </c:pt>
                <c:pt idx="526">
                  <c:v>92.263333333333307</c:v>
                </c:pt>
                <c:pt idx="527">
                  <c:v>93.793333333333294</c:v>
                </c:pt>
                <c:pt idx="528">
                  <c:v>92.381999999999906</c:v>
                </c:pt>
                <c:pt idx="529">
                  <c:v>92.907499999999999</c:v>
                </c:pt>
                <c:pt idx="530">
                  <c:v>93.206249999999997</c:v>
                </c:pt>
                <c:pt idx="531">
                  <c:v>97.012499999999903</c:v>
                </c:pt>
                <c:pt idx="532">
                  <c:v>89.178333333333299</c:v>
                </c:pt>
                <c:pt idx="533">
                  <c:v>90.419166666666598</c:v>
                </c:pt>
                <c:pt idx="534">
                  <c:v>95.5891666666666</c:v>
                </c:pt>
                <c:pt idx="535">
                  <c:v>97.796666666666596</c:v>
                </c:pt>
                <c:pt idx="536">
                  <c:v>93.211666666666602</c:v>
                </c:pt>
                <c:pt idx="537">
                  <c:v>92.63</c:v>
                </c:pt>
                <c:pt idx="538">
                  <c:v>93.126666666666594</c:v>
                </c:pt>
                <c:pt idx="539">
                  <c:v>94.182499999999905</c:v>
                </c:pt>
                <c:pt idx="540">
                  <c:v>92.816666666666606</c:v>
                </c:pt>
                <c:pt idx="541">
                  <c:v>89.649166666666602</c:v>
                </c:pt>
                <c:pt idx="542">
                  <c:v>89.694999999999993</c:v>
                </c:pt>
                <c:pt idx="543">
                  <c:v>90.165000000000006</c:v>
                </c:pt>
                <c:pt idx="544">
                  <c:v>92.224999999999994</c:v>
                </c:pt>
                <c:pt idx="545">
                  <c:v>91.504999999999995</c:v>
                </c:pt>
                <c:pt idx="546">
                  <c:v>95.185833333333306</c:v>
                </c:pt>
                <c:pt idx="547">
                  <c:v>92.634166666666601</c:v>
                </c:pt>
                <c:pt idx="548">
                  <c:v>91.8541666666666</c:v>
                </c:pt>
                <c:pt idx="549">
                  <c:v>88.734166666666596</c:v>
                </c:pt>
                <c:pt idx="550">
                  <c:v>97.854285714285695</c:v>
                </c:pt>
                <c:pt idx="551">
                  <c:v>90.266666666666595</c:v>
                </c:pt>
                <c:pt idx="552">
                  <c:v>93.316666666666606</c:v>
                </c:pt>
                <c:pt idx="553">
                  <c:v>91.059166666666599</c:v>
                </c:pt>
                <c:pt idx="554">
                  <c:v>96.3808333333333</c:v>
                </c:pt>
                <c:pt idx="555">
                  <c:v>94.445833333333297</c:v>
                </c:pt>
                <c:pt idx="556">
                  <c:v>89.991666666666603</c:v>
                </c:pt>
                <c:pt idx="557">
                  <c:v>93.043333333333294</c:v>
                </c:pt>
                <c:pt idx="558">
                  <c:v>92.8</c:v>
                </c:pt>
                <c:pt idx="559">
                  <c:v>92.62</c:v>
                </c:pt>
                <c:pt idx="560">
                  <c:v>89.626666666666594</c:v>
                </c:pt>
                <c:pt idx="561">
                  <c:v>96.4433333333333</c:v>
                </c:pt>
                <c:pt idx="562">
                  <c:v>95.782499999999999</c:v>
                </c:pt>
                <c:pt idx="563">
                  <c:v>91.242500000000007</c:v>
                </c:pt>
                <c:pt idx="564">
                  <c:v>94.824999999999903</c:v>
                </c:pt>
                <c:pt idx="565">
                  <c:v>97.902499999999904</c:v>
                </c:pt>
                <c:pt idx="566">
                  <c:v>88.783333333333303</c:v>
                </c:pt>
                <c:pt idx="567">
                  <c:v>93.279999999999902</c:v>
                </c:pt>
                <c:pt idx="568">
                  <c:v>89.876666666666594</c:v>
                </c:pt>
                <c:pt idx="569">
                  <c:v>93.448333333333295</c:v>
                </c:pt>
                <c:pt idx="570">
                  <c:v>89.710833333333298</c:v>
                </c:pt>
                <c:pt idx="571">
                  <c:v>93.548333333333304</c:v>
                </c:pt>
                <c:pt idx="572">
                  <c:v>97.102500000000006</c:v>
                </c:pt>
                <c:pt idx="573">
                  <c:v>93.54</c:v>
                </c:pt>
                <c:pt idx="574">
                  <c:v>96.017499999999899</c:v>
                </c:pt>
                <c:pt idx="575">
                  <c:v>95.88</c:v>
                </c:pt>
                <c:pt idx="576">
                  <c:v>97.279166666666598</c:v>
                </c:pt>
                <c:pt idx="577">
                  <c:v>92.186666666666596</c:v>
                </c:pt>
                <c:pt idx="578">
                  <c:v>92.573333333333295</c:v>
                </c:pt>
                <c:pt idx="579">
                  <c:v>92.292499999999905</c:v>
                </c:pt>
                <c:pt idx="580">
                  <c:v>89.856666666666598</c:v>
                </c:pt>
                <c:pt idx="581">
                  <c:v>95.3958333333333</c:v>
                </c:pt>
                <c:pt idx="582">
                  <c:v>90.515833333333305</c:v>
                </c:pt>
                <c:pt idx="583">
                  <c:v>91.726666666666603</c:v>
                </c:pt>
                <c:pt idx="584">
                  <c:v>93.337499999999906</c:v>
                </c:pt>
                <c:pt idx="585">
                  <c:v>94.040833333333296</c:v>
                </c:pt>
                <c:pt idx="586">
                  <c:v>91.495833333333294</c:v>
                </c:pt>
                <c:pt idx="587">
                  <c:v>91.925833333333301</c:v>
                </c:pt>
                <c:pt idx="588">
                  <c:v>95.820833333333297</c:v>
                </c:pt>
                <c:pt idx="589">
                  <c:v>96.074166666666599</c:v>
                </c:pt>
                <c:pt idx="590">
                  <c:v>89.605000000000004</c:v>
                </c:pt>
                <c:pt idx="591">
                  <c:v>94.202500000000001</c:v>
                </c:pt>
                <c:pt idx="592">
                  <c:v>94.43</c:v>
                </c:pt>
                <c:pt idx="593">
                  <c:v>92.056666666666601</c:v>
                </c:pt>
                <c:pt idx="594">
                  <c:v>93.225833333333298</c:v>
                </c:pt>
                <c:pt idx="595">
                  <c:v>89.435000000000002</c:v>
                </c:pt>
                <c:pt idx="596">
                  <c:v>89.132499999999993</c:v>
                </c:pt>
                <c:pt idx="597">
                  <c:v>92.077499999999901</c:v>
                </c:pt>
                <c:pt idx="598">
                  <c:v>89.795833333333306</c:v>
                </c:pt>
                <c:pt idx="599">
                  <c:v>91.334999999999994</c:v>
                </c:pt>
                <c:pt idx="600">
                  <c:v>91.149166666666602</c:v>
                </c:pt>
                <c:pt idx="601">
                  <c:v>91.080833333333302</c:v>
                </c:pt>
                <c:pt idx="602">
                  <c:v>93.509166666666601</c:v>
                </c:pt>
                <c:pt idx="603">
                  <c:v>92.410833333333301</c:v>
                </c:pt>
                <c:pt idx="604">
                  <c:v>91.293333333333294</c:v>
                </c:pt>
                <c:pt idx="605">
                  <c:v>90.894166666666607</c:v>
                </c:pt>
                <c:pt idx="606">
                  <c:v>92.777499999999904</c:v>
                </c:pt>
                <c:pt idx="607">
                  <c:v>94.932500000000005</c:v>
                </c:pt>
                <c:pt idx="608">
                  <c:v>92.434166666666599</c:v>
                </c:pt>
                <c:pt idx="609">
                  <c:v>93.046666666666596</c:v>
                </c:pt>
                <c:pt idx="610">
                  <c:v>93.422499999999999</c:v>
                </c:pt>
                <c:pt idx="611">
                  <c:v>97.349166666666605</c:v>
                </c:pt>
                <c:pt idx="612">
                  <c:v>96.465454545454506</c:v>
                </c:pt>
                <c:pt idx="613">
                  <c:v>92.75</c:v>
                </c:pt>
                <c:pt idx="614">
                  <c:v>92.273333333333298</c:v>
                </c:pt>
                <c:pt idx="615">
                  <c:v>88.793333333333294</c:v>
                </c:pt>
                <c:pt idx="616">
                  <c:v>87.631666666666604</c:v>
                </c:pt>
                <c:pt idx="617">
                  <c:v>90.684166666666599</c:v>
                </c:pt>
                <c:pt idx="618">
                  <c:v>90.214999999999904</c:v>
                </c:pt>
                <c:pt idx="619">
                  <c:v>93.018333333333302</c:v>
                </c:pt>
                <c:pt idx="620">
                  <c:v>94.704999999999998</c:v>
                </c:pt>
                <c:pt idx="621">
                  <c:v>94.664166666666603</c:v>
                </c:pt>
                <c:pt idx="622">
                  <c:v>92.75</c:v>
                </c:pt>
                <c:pt idx="623">
                  <c:v>91.389999999999901</c:v>
                </c:pt>
                <c:pt idx="624">
                  <c:v>93.83</c:v>
                </c:pt>
                <c:pt idx="625">
                  <c:v>92.7083333333333</c:v>
                </c:pt>
                <c:pt idx="626">
                  <c:v>91.600833333333298</c:v>
                </c:pt>
                <c:pt idx="627">
                  <c:v>89.942499999999995</c:v>
                </c:pt>
                <c:pt idx="628">
                  <c:v>96.827500000000001</c:v>
                </c:pt>
                <c:pt idx="629">
                  <c:v>95.646666666666604</c:v>
                </c:pt>
                <c:pt idx="630">
                  <c:v>91.236666666666594</c:v>
                </c:pt>
                <c:pt idx="631">
                  <c:v>91.305833333333297</c:v>
                </c:pt>
                <c:pt idx="632">
                  <c:v>90.596666666666593</c:v>
                </c:pt>
                <c:pt idx="633">
                  <c:v>95.46</c:v>
                </c:pt>
                <c:pt idx="634">
                  <c:v>95.662499999999895</c:v>
                </c:pt>
                <c:pt idx="635">
                  <c:v>97.945833333333297</c:v>
                </c:pt>
                <c:pt idx="636">
                  <c:v>92.997500000000002</c:v>
                </c:pt>
                <c:pt idx="637">
                  <c:v>95.619166666666601</c:v>
                </c:pt>
                <c:pt idx="638">
                  <c:v>94.369166666666601</c:v>
                </c:pt>
                <c:pt idx="639">
                  <c:v>88.018333333333302</c:v>
                </c:pt>
                <c:pt idx="640">
                  <c:v>90.931666666666601</c:v>
                </c:pt>
                <c:pt idx="641">
                  <c:v>94.170833333333306</c:v>
                </c:pt>
                <c:pt idx="642">
                  <c:v>96.814166666666594</c:v>
                </c:pt>
                <c:pt idx="643">
                  <c:v>92.745000000000005</c:v>
                </c:pt>
                <c:pt idx="644">
                  <c:v>89.886666666666599</c:v>
                </c:pt>
                <c:pt idx="645">
                  <c:v>91.894545454545394</c:v>
                </c:pt>
                <c:pt idx="646">
                  <c:v>90.055714285714203</c:v>
                </c:pt>
                <c:pt idx="647">
                  <c:v>92.525833333333296</c:v>
                </c:pt>
                <c:pt idx="648">
                  <c:v>93.71875</c:v>
                </c:pt>
                <c:pt idx="649">
                  <c:v>94.435833333333306</c:v>
                </c:pt>
                <c:pt idx="650">
                  <c:v>95.419166666666598</c:v>
                </c:pt>
                <c:pt idx="651">
                  <c:v>94.839999999999904</c:v>
                </c:pt>
                <c:pt idx="652">
                  <c:v>90.721666666666593</c:v>
                </c:pt>
                <c:pt idx="653">
                  <c:v>97.636666666666599</c:v>
                </c:pt>
                <c:pt idx="654">
                  <c:v>90.548333333333304</c:v>
                </c:pt>
                <c:pt idx="655">
                  <c:v>91.250833333333304</c:v>
                </c:pt>
                <c:pt idx="656">
                  <c:v>92.099166666666605</c:v>
                </c:pt>
                <c:pt idx="657">
                  <c:v>92.097272727272696</c:v>
                </c:pt>
                <c:pt idx="658">
                  <c:v>97.952857142857098</c:v>
                </c:pt>
                <c:pt idx="659">
                  <c:v>92.206666666666607</c:v>
                </c:pt>
                <c:pt idx="660">
                  <c:v>96.4433333333333</c:v>
                </c:pt>
                <c:pt idx="661">
                  <c:v>94.2766666666666</c:v>
                </c:pt>
                <c:pt idx="662">
                  <c:v>90.676666666666605</c:v>
                </c:pt>
                <c:pt idx="663">
                  <c:v>92.789166666666603</c:v>
                </c:pt>
                <c:pt idx="664">
                  <c:v>87.263333333333307</c:v>
                </c:pt>
                <c:pt idx="665">
                  <c:v>91.471666666666593</c:v>
                </c:pt>
                <c:pt idx="666">
                  <c:v>96.064166666666594</c:v>
                </c:pt>
                <c:pt idx="667">
                  <c:v>95.494166666666601</c:v>
                </c:pt>
                <c:pt idx="668">
                  <c:v>94.431666666666601</c:v>
                </c:pt>
                <c:pt idx="669">
                  <c:v>92.842499999999902</c:v>
                </c:pt>
                <c:pt idx="670">
                  <c:v>97.060833333333306</c:v>
                </c:pt>
                <c:pt idx="671">
                  <c:v>92.796666666666596</c:v>
                </c:pt>
                <c:pt idx="672">
                  <c:v>92.504999999999995</c:v>
                </c:pt>
                <c:pt idx="673">
                  <c:v>92.484166666666596</c:v>
                </c:pt>
                <c:pt idx="674">
                  <c:v>91.757000000000005</c:v>
                </c:pt>
                <c:pt idx="675">
                  <c:v>93.080833333333302</c:v>
                </c:pt>
                <c:pt idx="676">
                  <c:v>92.68</c:v>
                </c:pt>
                <c:pt idx="677">
                  <c:v>91.634166666666601</c:v>
                </c:pt>
                <c:pt idx="678">
                  <c:v>95.111666666666594</c:v>
                </c:pt>
                <c:pt idx="679">
                  <c:v>93.984999999999999</c:v>
                </c:pt>
                <c:pt idx="680">
                  <c:v>94.454999999999998</c:v>
                </c:pt>
                <c:pt idx="681">
                  <c:v>92.797499999999999</c:v>
                </c:pt>
                <c:pt idx="682">
                  <c:v>93.024166666666602</c:v>
                </c:pt>
                <c:pt idx="683">
                  <c:v>92.905000000000001</c:v>
                </c:pt>
                <c:pt idx="684">
                  <c:v>92.018333333333302</c:v>
                </c:pt>
                <c:pt idx="685">
                  <c:v>94.912499999999994</c:v>
                </c:pt>
                <c:pt idx="686">
                  <c:v>93.859166666666596</c:v>
                </c:pt>
                <c:pt idx="687">
                  <c:v>91.686666666666596</c:v>
                </c:pt>
                <c:pt idx="688">
                  <c:v>93.885833333333295</c:v>
                </c:pt>
                <c:pt idx="689">
                  <c:v>93.326666666666597</c:v>
                </c:pt>
                <c:pt idx="690">
                  <c:v>94.9375</c:v>
                </c:pt>
                <c:pt idx="691">
                  <c:v>94.245833333333294</c:v>
                </c:pt>
                <c:pt idx="692">
                  <c:v>89.978333333333296</c:v>
                </c:pt>
                <c:pt idx="693">
                  <c:v>93.031666666666595</c:v>
                </c:pt>
                <c:pt idx="694">
                  <c:v>92.2708333333333</c:v>
                </c:pt>
                <c:pt idx="695">
                  <c:v>93.975833333333298</c:v>
                </c:pt>
                <c:pt idx="696">
                  <c:v>91.39</c:v>
                </c:pt>
                <c:pt idx="697">
                  <c:v>89.696666666666601</c:v>
                </c:pt>
                <c:pt idx="698">
                  <c:v>94.949166666666599</c:v>
                </c:pt>
                <c:pt idx="699">
                  <c:v>93.538333333333298</c:v>
                </c:pt>
                <c:pt idx="700">
                  <c:v>93.586666666666602</c:v>
                </c:pt>
                <c:pt idx="701">
                  <c:v>91.453333333333305</c:v>
                </c:pt>
                <c:pt idx="702">
                  <c:v>92.62</c:v>
                </c:pt>
                <c:pt idx="703">
                  <c:v>95.298333333333304</c:v>
                </c:pt>
                <c:pt idx="704">
                  <c:v>92.412499999999994</c:v>
                </c:pt>
                <c:pt idx="705">
                  <c:v>90.366666666666603</c:v>
                </c:pt>
                <c:pt idx="706">
                  <c:v>92.250833333333304</c:v>
                </c:pt>
                <c:pt idx="707">
                  <c:v>91.97</c:v>
                </c:pt>
                <c:pt idx="708">
                  <c:v>93.757499999999993</c:v>
                </c:pt>
                <c:pt idx="709">
                  <c:v>95.6458333333333</c:v>
                </c:pt>
                <c:pt idx="710">
                  <c:v>92.878333333333302</c:v>
                </c:pt>
                <c:pt idx="711">
                  <c:v>92.855833333333294</c:v>
                </c:pt>
                <c:pt idx="712">
                  <c:v>93.114999999999995</c:v>
                </c:pt>
                <c:pt idx="713">
                  <c:v>92.212499999999906</c:v>
                </c:pt>
                <c:pt idx="714">
                  <c:v>93.219166666666595</c:v>
                </c:pt>
                <c:pt idx="715">
                  <c:v>93.787499999999895</c:v>
                </c:pt>
                <c:pt idx="716">
                  <c:v>94.329999999999899</c:v>
                </c:pt>
                <c:pt idx="717">
                  <c:v>95.224166666666605</c:v>
                </c:pt>
                <c:pt idx="718">
                  <c:v>92.940833333333302</c:v>
                </c:pt>
                <c:pt idx="719">
                  <c:v>90.131666666666604</c:v>
                </c:pt>
                <c:pt idx="720">
                  <c:v>90.2141666666666</c:v>
                </c:pt>
                <c:pt idx="721">
                  <c:v>91.858333333333306</c:v>
                </c:pt>
                <c:pt idx="722">
                  <c:v>96.48</c:v>
                </c:pt>
                <c:pt idx="723">
                  <c:v>96.315833333333302</c:v>
                </c:pt>
                <c:pt idx="724">
                  <c:v>95.259166666666601</c:v>
                </c:pt>
                <c:pt idx="725">
                  <c:v>95.25</c:v>
                </c:pt>
                <c:pt idx="726">
                  <c:v>94.122500000000002</c:v>
                </c:pt>
                <c:pt idx="727">
                  <c:v>92.79</c:v>
                </c:pt>
                <c:pt idx="728">
                  <c:v>90.688333333333304</c:v>
                </c:pt>
                <c:pt idx="729">
                  <c:v>96.152500000000003</c:v>
                </c:pt>
              </c:numCache>
            </c:numRef>
          </c:xVal>
          <c:yVal>
            <c:numRef>
              <c:f>Sheet1!$I$3:$I$732</c:f>
              <c:numCache>
                <c:formatCode>0.00</c:formatCode>
                <c:ptCount val="730"/>
                <c:pt idx="0">
                  <c:v>2814.7105606124901</c:v>
                </c:pt>
                <c:pt idx="1">
                  <c:v>2820.15931286666</c:v>
                </c:pt>
                <c:pt idx="2">
                  <c:v>2147.3532233291598</c:v>
                </c:pt>
                <c:pt idx="3">
                  <c:v>2545.3108069374898</c:v>
                </c:pt>
                <c:pt idx="4">
                  <c:v>2222.4136193208301</c:v>
                </c:pt>
                <c:pt idx="5">
                  <c:v>2257.3158007708298</c:v>
                </c:pt>
                <c:pt idx="6">
                  <c:v>2032.198344465</c:v>
                </c:pt>
                <c:pt idx="7">
                  <c:v>2117.8163037374902</c:v>
                </c:pt>
                <c:pt idx="8">
                  <c:v>1881.9500175666601</c:v>
                </c:pt>
                <c:pt idx="9">
                  <c:v>2576.3438875909001</c:v>
                </c:pt>
                <c:pt idx="10">
                  <c:v>2044.66478628499</c:v>
                </c:pt>
                <c:pt idx="11">
                  <c:v>2868.9563182708298</c:v>
                </c:pt>
                <c:pt idx="12">
                  <c:v>2472.6334011958302</c:v>
                </c:pt>
                <c:pt idx="13">
                  <c:v>3299.9393580708202</c:v>
                </c:pt>
                <c:pt idx="14">
                  <c:v>2786.5475998083298</c:v>
                </c:pt>
                <c:pt idx="15">
                  <c:v>3225.7517746541598</c:v>
                </c:pt>
                <c:pt idx="16">
                  <c:v>2425.1360756541599</c:v>
                </c:pt>
                <c:pt idx="17">
                  <c:v>2401.8058121333302</c:v>
                </c:pt>
                <c:pt idx="18">
                  <c:v>2113.5125400799898</c:v>
                </c:pt>
                <c:pt idx="19">
                  <c:v>2433.3480168166602</c:v>
                </c:pt>
                <c:pt idx="20">
                  <c:v>2189.0438997312399</c:v>
                </c:pt>
                <c:pt idx="21">
                  <c:v>2483.5657340083299</c:v>
                </c:pt>
                <c:pt idx="22">
                  <c:v>1896.0243473666601</c:v>
                </c:pt>
                <c:pt idx="23">
                  <c:v>2615.8735382874902</c:v>
                </c:pt>
                <c:pt idx="24">
                  <c:v>1992.70477325416</c:v>
                </c:pt>
                <c:pt idx="25">
                  <c:v>2387.7880464916602</c:v>
                </c:pt>
                <c:pt idx="26">
                  <c:v>2358.34048073333</c:v>
                </c:pt>
                <c:pt idx="27">
                  <c:v>3340.70503213333</c:v>
                </c:pt>
                <c:pt idx="28">
                  <c:v>2842.3093060374899</c:v>
                </c:pt>
                <c:pt idx="29">
                  <c:v>3250.4874035166599</c:v>
                </c:pt>
                <c:pt idx="30">
                  <c:v>2453.1961141708298</c:v>
                </c:pt>
                <c:pt idx="31">
                  <c:v>2536.4750736916599</c:v>
                </c:pt>
                <c:pt idx="32">
                  <c:v>1958.7403593583299</c:v>
                </c:pt>
                <c:pt idx="33">
                  <c:v>2217.7377323208302</c:v>
                </c:pt>
                <c:pt idx="34">
                  <c:v>2035.5217133875001</c:v>
                </c:pt>
                <c:pt idx="35">
                  <c:v>2450.3480851874901</c:v>
                </c:pt>
                <c:pt idx="36">
                  <c:v>1864.6022638714201</c:v>
                </c:pt>
                <c:pt idx="37">
                  <c:v>2278.1295495916602</c:v>
                </c:pt>
                <c:pt idx="38">
                  <c:v>1924.9605551166601</c:v>
                </c:pt>
                <c:pt idx="39">
                  <c:v>2560.8750446249901</c:v>
                </c:pt>
                <c:pt idx="40">
                  <c:v>2127.80860193749</c:v>
                </c:pt>
                <c:pt idx="41">
                  <c:v>2746.1296072416599</c:v>
                </c:pt>
                <c:pt idx="42">
                  <c:v>2140.0864342166601</c:v>
                </c:pt>
                <c:pt idx="43">
                  <c:v>2651.1279091166598</c:v>
                </c:pt>
                <c:pt idx="44">
                  <c:v>2198.8909038583301</c:v>
                </c:pt>
                <c:pt idx="45">
                  <c:v>2598.18044052499</c:v>
                </c:pt>
                <c:pt idx="46">
                  <c:v>2166.8205700090898</c:v>
                </c:pt>
                <c:pt idx="47">
                  <c:v>2420.47367987499</c:v>
                </c:pt>
                <c:pt idx="48">
                  <c:v>2104.8423878291601</c:v>
                </c:pt>
                <c:pt idx="49">
                  <c:v>2301.0493781833302</c:v>
                </c:pt>
                <c:pt idx="50">
                  <c:v>2010.89693983749</c:v>
                </c:pt>
                <c:pt idx="51">
                  <c:v>2440.1286881583301</c:v>
                </c:pt>
                <c:pt idx="52">
                  <c:v>1872.7888722083301</c:v>
                </c:pt>
                <c:pt idx="53">
                  <c:v>2702.8843677749901</c:v>
                </c:pt>
                <c:pt idx="54">
                  <c:v>1862.09098722916</c:v>
                </c:pt>
                <c:pt idx="55">
                  <c:v>2301.8307151874901</c:v>
                </c:pt>
                <c:pt idx="56">
                  <c:v>2141.2100704499899</c:v>
                </c:pt>
                <c:pt idx="57">
                  <c:v>2542.9754542625001</c:v>
                </c:pt>
                <c:pt idx="58">
                  <c:v>2141.6758152541602</c:v>
                </c:pt>
                <c:pt idx="59">
                  <c:v>2821.5852816249899</c:v>
                </c:pt>
                <c:pt idx="60">
                  <c:v>2121.2677979249902</c:v>
                </c:pt>
                <c:pt idx="61">
                  <c:v>2725.2631981750001</c:v>
                </c:pt>
                <c:pt idx="62">
                  <c:v>2168.7831825916601</c:v>
                </c:pt>
                <c:pt idx="63">
                  <c:v>2961.5898729458299</c:v>
                </c:pt>
                <c:pt idx="64">
                  <c:v>2059.6434400374901</c:v>
                </c:pt>
                <c:pt idx="65">
                  <c:v>2915.94190402499</c:v>
                </c:pt>
                <c:pt idx="66">
                  <c:v>2074.9507374291602</c:v>
                </c:pt>
                <c:pt idx="67">
                  <c:v>2840.1388558458302</c:v>
                </c:pt>
                <c:pt idx="68">
                  <c:v>2336.1864341833302</c:v>
                </c:pt>
                <c:pt idx="69">
                  <c:v>2795.9823378666601</c:v>
                </c:pt>
                <c:pt idx="70">
                  <c:v>2203.7443846374899</c:v>
                </c:pt>
                <c:pt idx="71">
                  <c:v>2514.4400851124901</c:v>
                </c:pt>
                <c:pt idx="72">
                  <c:v>2254.8362323375</c:v>
                </c:pt>
                <c:pt idx="73">
                  <c:v>2369.5948363374901</c:v>
                </c:pt>
                <c:pt idx="74">
                  <c:v>1974.18200617916</c:v>
                </c:pt>
                <c:pt idx="75">
                  <c:v>2271.7791866166599</c:v>
                </c:pt>
                <c:pt idx="76">
                  <c:v>2014.2160829833299</c:v>
                </c:pt>
                <c:pt idx="77">
                  <c:v>2596.5701936458299</c:v>
                </c:pt>
                <c:pt idx="78">
                  <c:v>1867.4815676363601</c:v>
                </c:pt>
                <c:pt idx="79">
                  <c:v>2828.9775346166598</c:v>
                </c:pt>
                <c:pt idx="80">
                  <c:v>1994.4438366499901</c:v>
                </c:pt>
                <c:pt idx="81">
                  <c:v>2926.1708955250001</c:v>
                </c:pt>
                <c:pt idx="82">
                  <c:v>2554.6178627291602</c:v>
                </c:pt>
                <c:pt idx="83">
                  <c:v>3236.4869237541602</c:v>
                </c:pt>
                <c:pt idx="84">
                  <c:v>2762.5157089416598</c:v>
                </c:pt>
                <c:pt idx="85">
                  <c:v>3531.5317287999901</c:v>
                </c:pt>
                <c:pt idx="86">
                  <c:v>2745.1802333625001</c:v>
                </c:pt>
                <c:pt idx="87">
                  <c:v>3355.4509319083299</c:v>
                </c:pt>
                <c:pt idx="88">
                  <c:v>2603.7976719583298</c:v>
                </c:pt>
                <c:pt idx="89">
                  <c:v>2861.9960459624899</c:v>
                </c:pt>
                <c:pt idx="90">
                  <c:v>2363.6217625333302</c:v>
                </c:pt>
                <c:pt idx="91">
                  <c:v>2935.9480111624898</c:v>
                </c:pt>
                <c:pt idx="92">
                  <c:v>2179.3191565458301</c:v>
                </c:pt>
                <c:pt idx="93">
                  <c:v>2726.05105495833</c:v>
                </c:pt>
                <c:pt idx="94">
                  <c:v>1942.2621511416601</c:v>
                </c:pt>
                <c:pt idx="95">
                  <c:v>2233.6403290041599</c:v>
                </c:pt>
                <c:pt idx="96">
                  <c:v>2017.2257905399899</c:v>
                </c:pt>
                <c:pt idx="97">
                  <c:v>2359.1199209874899</c:v>
                </c:pt>
                <c:pt idx="98">
                  <c:v>2334.5526278249999</c:v>
                </c:pt>
                <c:pt idx="99">
                  <c:v>2805.6281315333299</c:v>
                </c:pt>
                <c:pt idx="100">
                  <c:v>2303.4694622749898</c:v>
                </c:pt>
                <c:pt idx="101">
                  <c:v>3590.6828627166601</c:v>
                </c:pt>
                <c:pt idx="102">
                  <c:v>2704.1649466458298</c:v>
                </c:pt>
                <c:pt idx="103">
                  <c:v>3365.87835465833</c:v>
                </c:pt>
                <c:pt idx="104">
                  <c:v>2625.0986705750001</c:v>
                </c:pt>
                <c:pt idx="105">
                  <c:v>2556.60953337916</c:v>
                </c:pt>
                <c:pt idx="106">
                  <c:v>1823.0696327749899</c:v>
                </c:pt>
                <c:pt idx="107">
                  <c:v>2037.7230165041599</c:v>
                </c:pt>
                <c:pt idx="108">
                  <c:v>1722.8896464541599</c:v>
                </c:pt>
                <c:pt idx="109">
                  <c:v>2063.51221467083</c:v>
                </c:pt>
                <c:pt idx="110">
                  <c:v>2069.9034216374898</c:v>
                </c:pt>
                <c:pt idx="111">
                  <c:v>2923.37536639583</c:v>
                </c:pt>
                <c:pt idx="112">
                  <c:v>2277.0611217166602</c:v>
                </c:pt>
                <c:pt idx="113">
                  <c:v>3388.0708861041599</c:v>
                </c:pt>
                <c:pt idx="114">
                  <c:v>2553.06626393333</c:v>
                </c:pt>
                <c:pt idx="115">
                  <c:v>3123.8353176083301</c:v>
                </c:pt>
                <c:pt idx="116">
                  <c:v>2302.3936510291601</c:v>
                </c:pt>
                <c:pt idx="117">
                  <c:v>2913.6543985708299</c:v>
                </c:pt>
                <c:pt idx="118">
                  <c:v>2279.9175524666598</c:v>
                </c:pt>
                <c:pt idx="119">
                  <c:v>2813.4237973208301</c:v>
                </c:pt>
                <c:pt idx="120">
                  <c:v>1968.99549426666</c:v>
                </c:pt>
                <c:pt idx="121">
                  <c:v>2389.08068954583</c:v>
                </c:pt>
                <c:pt idx="122">
                  <c:v>1789.86981436666</c:v>
                </c:pt>
                <c:pt idx="123">
                  <c:v>2359.7180916666598</c:v>
                </c:pt>
                <c:pt idx="124">
                  <c:v>2029.4388739291601</c:v>
                </c:pt>
                <c:pt idx="125">
                  <c:v>2184.9103650041602</c:v>
                </c:pt>
                <c:pt idx="126">
                  <c:v>2196.38929249999</c:v>
                </c:pt>
                <c:pt idx="127">
                  <c:v>2432.6821969624998</c:v>
                </c:pt>
                <c:pt idx="128">
                  <c:v>2011.3950495611</c:v>
                </c:pt>
                <c:pt idx="129">
                  <c:v>2633.6015288999902</c:v>
                </c:pt>
                <c:pt idx="130">
                  <c:v>2200.4233423099899</c:v>
                </c:pt>
                <c:pt idx="131">
                  <c:v>2618.3027622916602</c:v>
                </c:pt>
                <c:pt idx="132">
                  <c:v>2180.1996981277698</c:v>
                </c:pt>
                <c:pt idx="133">
                  <c:v>2672.35888205833</c:v>
                </c:pt>
                <c:pt idx="134">
                  <c:v>2004.5064299727201</c:v>
                </c:pt>
                <c:pt idx="135">
                  <c:v>2614.9927077249899</c:v>
                </c:pt>
                <c:pt idx="136">
                  <c:v>2097.69024651666</c:v>
                </c:pt>
                <c:pt idx="137">
                  <c:v>2409.2647808500001</c:v>
                </c:pt>
                <c:pt idx="138">
                  <c:v>2208.2178144750001</c:v>
                </c:pt>
                <c:pt idx="139">
                  <c:v>2481.62320262916</c:v>
                </c:pt>
                <c:pt idx="140">
                  <c:v>1865.7514559624899</c:v>
                </c:pt>
                <c:pt idx="141">
                  <c:v>2161.9760966541598</c:v>
                </c:pt>
                <c:pt idx="142">
                  <c:v>2059.1577108863598</c:v>
                </c:pt>
                <c:pt idx="143">
                  <c:v>2244.5299330875</c:v>
                </c:pt>
                <c:pt idx="144">
                  <c:v>2290.24188112499</c:v>
                </c:pt>
                <c:pt idx="145">
                  <c:v>2529.3986842363602</c:v>
                </c:pt>
                <c:pt idx="146">
                  <c:v>2028.51025856499</c:v>
                </c:pt>
                <c:pt idx="147">
                  <c:v>2377.9403508958299</c:v>
                </c:pt>
                <c:pt idx="148">
                  <c:v>1952.47576309285</c:v>
                </c:pt>
                <c:pt idx="149">
                  <c:v>2220.3295659833302</c:v>
                </c:pt>
                <c:pt idx="150">
                  <c:v>1874.4952763250001</c:v>
                </c:pt>
                <c:pt idx="151">
                  <c:v>2408.1716978958302</c:v>
                </c:pt>
                <c:pt idx="152">
                  <c:v>2348.2187846291599</c:v>
                </c:pt>
                <c:pt idx="153">
                  <c:v>2781.20463690833</c:v>
                </c:pt>
                <c:pt idx="154">
                  <c:v>2134.7472275291602</c:v>
                </c:pt>
                <c:pt idx="155">
                  <c:v>2486.2344025124899</c:v>
                </c:pt>
                <c:pt idx="156">
                  <c:v>2081.8465858208301</c:v>
                </c:pt>
                <c:pt idx="157">
                  <c:v>2492.7292517333299</c:v>
                </c:pt>
                <c:pt idx="158">
                  <c:v>2041.2911814045401</c:v>
                </c:pt>
                <c:pt idx="159">
                  <c:v>2261.4539451958299</c:v>
                </c:pt>
                <c:pt idx="160">
                  <c:v>2236.3815262166599</c:v>
                </c:pt>
                <c:pt idx="161">
                  <c:v>2294.4026380458299</c:v>
                </c:pt>
                <c:pt idx="162">
                  <c:v>1918.97782055624</c:v>
                </c:pt>
                <c:pt idx="163">
                  <c:v>2049.31759405499</c:v>
                </c:pt>
                <c:pt idx="164">
                  <c:v>1942.2035167500001</c:v>
                </c:pt>
                <c:pt idx="165">
                  <c:v>2079.3220612045402</c:v>
                </c:pt>
                <c:pt idx="166">
                  <c:v>2228.21130526874</c:v>
                </c:pt>
                <c:pt idx="167">
                  <c:v>2356.6979502374902</c:v>
                </c:pt>
                <c:pt idx="168">
                  <c:v>2131.2112628357099</c:v>
                </c:pt>
                <c:pt idx="169">
                  <c:v>2234.2020854749899</c:v>
                </c:pt>
                <c:pt idx="170">
                  <c:v>1989.2252733749899</c:v>
                </c:pt>
                <c:pt idx="171">
                  <c:v>2125.4146722874898</c:v>
                </c:pt>
                <c:pt idx="172">
                  <c:v>2170.7718819333199</c:v>
                </c:pt>
                <c:pt idx="173">
                  <c:v>2196.29722014444</c:v>
                </c:pt>
                <c:pt idx="174">
                  <c:v>1865.2321135875</c:v>
                </c:pt>
                <c:pt idx="175">
                  <c:v>1895.44555601666</c:v>
                </c:pt>
                <c:pt idx="176">
                  <c:v>1872.2638883899899</c:v>
                </c:pt>
                <c:pt idx="177">
                  <c:v>2022.95829487777</c:v>
                </c:pt>
                <c:pt idx="178">
                  <c:v>1790.18647413333</c:v>
                </c:pt>
                <c:pt idx="179">
                  <c:v>2015.71379709999</c:v>
                </c:pt>
                <c:pt idx="180">
                  <c:v>2113.80004124999</c:v>
                </c:pt>
                <c:pt idx="181">
                  <c:v>2426.57113838636</c:v>
                </c:pt>
                <c:pt idx="182">
                  <c:v>2448.2077285999999</c:v>
                </c:pt>
                <c:pt idx="183">
                  <c:v>2647.5638321749898</c:v>
                </c:pt>
                <c:pt idx="184">
                  <c:v>2236.15374529583</c:v>
                </c:pt>
                <c:pt idx="185">
                  <c:v>2960.3368238749899</c:v>
                </c:pt>
                <c:pt idx="186">
                  <c:v>2407.5297075374901</c:v>
                </c:pt>
                <c:pt idx="187">
                  <c:v>3090.4349697999901</c:v>
                </c:pt>
                <c:pt idx="188">
                  <c:v>2288.5196504999899</c:v>
                </c:pt>
                <c:pt idx="189">
                  <c:v>2693.8758898999899</c:v>
                </c:pt>
                <c:pt idx="190">
                  <c:v>2206.7949992642798</c:v>
                </c:pt>
                <c:pt idx="191">
                  <c:v>2365.86784169166</c:v>
                </c:pt>
                <c:pt idx="192">
                  <c:v>2131.5617423333301</c:v>
                </c:pt>
                <c:pt idx="193">
                  <c:v>2359.2976642333301</c:v>
                </c:pt>
                <c:pt idx="194">
                  <c:v>2337.9500703833301</c:v>
                </c:pt>
                <c:pt idx="195">
                  <c:v>2912.4833422541601</c:v>
                </c:pt>
                <c:pt idx="196">
                  <c:v>2295.36409883333</c:v>
                </c:pt>
                <c:pt idx="197">
                  <c:v>2958.7262230958299</c:v>
                </c:pt>
                <c:pt idx="198">
                  <c:v>2372.2789152708301</c:v>
                </c:pt>
                <c:pt idx="199">
                  <c:v>2944.1665049916601</c:v>
                </c:pt>
                <c:pt idx="200">
                  <c:v>2434.2545983291602</c:v>
                </c:pt>
                <c:pt idx="201">
                  <c:v>2856.5136013041601</c:v>
                </c:pt>
                <c:pt idx="202">
                  <c:v>2476.64930895833</c:v>
                </c:pt>
                <c:pt idx="203">
                  <c:v>2751.0332943083299</c:v>
                </c:pt>
                <c:pt idx="204">
                  <c:v>2073.3610607041601</c:v>
                </c:pt>
                <c:pt idx="205">
                  <c:v>2334.1648400416602</c:v>
                </c:pt>
                <c:pt idx="206">
                  <c:v>2055.7750104791598</c:v>
                </c:pt>
                <c:pt idx="207">
                  <c:v>2477.5667578541602</c:v>
                </c:pt>
                <c:pt idx="208">
                  <c:v>2201.8428448958298</c:v>
                </c:pt>
                <c:pt idx="209">
                  <c:v>2783.7458944458299</c:v>
                </c:pt>
                <c:pt idx="210">
                  <c:v>2191.43477437916</c:v>
                </c:pt>
                <c:pt idx="211">
                  <c:v>2736.8444697791601</c:v>
                </c:pt>
                <c:pt idx="212">
                  <c:v>2292.4584675374999</c:v>
                </c:pt>
                <c:pt idx="213">
                  <c:v>2600.28185396249</c:v>
                </c:pt>
                <c:pt idx="214">
                  <c:v>2238.1594617291598</c:v>
                </c:pt>
                <c:pt idx="215">
                  <c:v>2570.20604453333</c:v>
                </c:pt>
                <c:pt idx="216">
                  <c:v>2178.1450835374999</c:v>
                </c:pt>
                <c:pt idx="217">
                  <c:v>2458.4068403333299</c:v>
                </c:pt>
                <c:pt idx="218">
                  <c:v>1947.3650472541599</c:v>
                </c:pt>
                <c:pt idx="219">
                  <c:v>2177.5841689416602</c:v>
                </c:pt>
                <c:pt idx="220">
                  <c:v>1923.60790184999</c:v>
                </c:pt>
                <c:pt idx="221">
                  <c:v>2084.3268327874898</c:v>
                </c:pt>
                <c:pt idx="222">
                  <c:v>2178.3010684624901</c:v>
                </c:pt>
                <c:pt idx="223">
                  <c:v>2342.1035759041602</c:v>
                </c:pt>
                <c:pt idx="224">
                  <c:v>1986.8119818208299</c:v>
                </c:pt>
                <c:pt idx="225">
                  <c:v>2492.27483820416</c:v>
                </c:pt>
                <c:pt idx="226">
                  <c:v>2011.5389245375</c:v>
                </c:pt>
                <c:pt idx="227">
                  <c:v>2541.34914761666</c:v>
                </c:pt>
                <c:pt idx="228">
                  <c:v>1869.39257215833</c:v>
                </c:pt>
                <c:pt idx="229">
                  <c:v>2113.9166695624899</c:v>
                </c:pt>
                <c:pt idx="230">
                  <c:v>2041.3888132874899</c:v>
                </c:pt>
                <c:pt idx="231">
                  <c:v>2392.579391925</c:v>
                </c:pt>
                <c:pt idx="232">
                  <c:v>1847.6206024749899</c:v>
                </c:pt>
                <c:pt idx="233">
                  <c:v>2103.7799291791598</c:v>
                </c:pt>
                <c:pt idx="234">
                  <c:v>1684.3235995374901</c:v>
                </c:pt>
                <c:pt idx="235">
                  <c:v>2057.4672101124902</c:v>
                </c:pt>
                <c:pt idx="236">
                  <c:v>2173.1531144277701</c:v>
                </c:pt>
                <c:pt idx="237">
                  <c:v>2380.5147788583299</c:v>
                </c:pt>
                <c:pt idx="238">
                  <c:v>2278.7772955714199</c:v>
                </c:pt>
                <c:pt idx="239">
                  <c:v>2434.3405128333302</c:v>
                </c:pt>
                <c:pt idx="240">
                  <c:v>2006.54166748749</c:v>
                </c:pt>
                <c:pt idx="241">
                  <c:v>2714.09375346363</c:v>
                </c:pt>
                <c:pt idx="242">
                  <c:v>2391.99487152856</c:v>
                </c:pt>
                <c:pt idx="243">
                  <c:v>2329.3039084624902</c:v>
                </c:pt>
                <c:pt idx="244">
                  <c:v>2077.1218812541601</c:v>
                </c:pt>
                <c:pt idx="245">
                  <c:v>2290.5947934124902</c:v>
                </c:pt>
                <c:pt idx="246">
                  <c:v>1952.5976356333299</c:v>
                </c:pt>
                <c:pt idx="247">
                  <c:v>2205.2421286318099</c:v>
                </c:pt>
                <c:pt idx="248">
                  <c:v>1820.63976945833</c:v>
                </c:pt>
                <c:pt idx="249">
                  <c:v>1949.2376995124901</c:v>
                </c:pt>
                <c:pt idx="250">
                  <c:v>2011.5588322041599</c:v>
                </c:pt>
                <c:pt idx="251">
                  <c:v>2407.8819831791602</c:v>
                </c:pt>
                <c:pt idx="252">
                  <c:v>2108.0878239458302</c:v>
                </c:pt>
                <c:pt idx="253">
                  <c:v>2425.3941229549901</c:v>
                </c:pt>
                <c:pt idx="254">
                  <c:v>2276.4651883285601</c:v>
                </c:pt>
                <c:pt idx="255">
                  <c:v>2385.3081387208299</c:v>
                </c:pt>
                <c:pt idx="256">
                  <c:v>2207.3602180749999</c:v>
                </c:pt>
                <c:pt idx="257">
                  <c:v>2288.4663373499902</c:v>
                </c:pt>
                <c:pt idx="258">
                  <c:v>2266.71607263332</c:v>
                </c:pt>
                <c:pt idx="259">
                  <c:v>2149.3511236791601</c:v>
                </c:pt>
                <c:pt idx="260">
                  <c:v>1762.31032626666</c:v>
                </c:pt>
                <c:pt idx="261">
                  <c:v>2091.57613969166</c:v>
                </c:pt>
                <c:pt idx="262">
                  <c:v>1767.7216455299899</c:v>
                </c:pt>
                <c:pt idx="263">
                  <c:v>2194.2849347363599</c:v>
                </c:pt>
                <c:pt idx="264">
                  <c:v>2256.8843618562501</c:v>
                </c:pt>
                <c:pt idx="265">
                  <c:v>2440.1407365749901</c:v>
                </c:pt>
                <c:pt idx="266">
                  <c:v>2054.2260679208298</c:v>
                </c:pt>
                <c:pt idx="267">
                  <c:v>2363.7651461291598</c:v>
                </c:pt>
                <c:pt idx="268">
                  <c:v>2197.8695865333302</c:v>
                </c:pt>
                <c:pt idx="269">
                  <c:v>2418.2252856916598</c:v>
                </c:pt>
                <c:pt idx="270">
                  <c:v>2219.37749874375</c:v>
                </c:pt>
                <c:pt idx="271">
                  <c:v>2426.06493250416</c:v>
                </c:pt>
                <c:pt idx="272">
                  <c:v>2061.1680646954501</c:v>
                </c:pt>
                <c:pt idx="273">
                  <c:v>2398.4183871208202</c:v>
                </c:pt>
                <c:pt idx="274">
                  <c:v>1932.5191484818099</c:v>
                </c:pt>
                <c:pt idx="275">
                  <c:v>2209.34832387499</c:v>
                </c:pt>
                <c:pt idx="276">
                  <c:v>1804.0047631083301</c:v>
                </c:pt>
                <c:pt idx="277">
                  <c:v>2239.4996949791598</c:v>
                </c:pt>
                <c:pt idx="278">
                  <c:v>2215.2909385708299</c:v>
                </c:pt>
                <c:pt idx="279">
                  <c:v>2526.5955351749899</c:v>
                </c:pt>
                <c:pt idx="280">
                  <c:v>2102.5246024374901</c:v>
                </c:pt>
                <c:pt idx="281">
                  <c:v>2350.89282996666</c:v>
                </c:pt>
                <c:pt idx="282">
                  <c:v>2121.1059986833302</c:v>
                </c:pt>
                <c:pt idx="283">
                  <c:v>2473.74528315416</c:v>
                </c:pt>
                <c:pt idx="284">
                  <c:v>2153.7002823791599</c:v>
                </c:pt>
                <c:pt idx="285">
                  <c:v>2502.3010268374901</c:v>
                </c:pt>
                <c:pt idx="286">
                  <c:v>2305.6693803666599</c:v>
                </c:pt>
                <c:pt idx="287">
                  <c:v>2412.1884145583299</c:v>
                </c:pt>
                <c:pt idx="288">
                  <c:v>2151.8897925285601</c:v>
                </c:pt>
                <c:pt idx="289">
                  <c:v>2256.65196733333</c:v>
                </c:pt>
                <c:pt idx="290">
                  <c:v>1836.86610517083</c:v>
                </c:pt>
                <c:pt idx="291">
                  <c:v>2239.7297245291602</c:v>
                </c:pt>
                <c:pt idx="292">
                  <c:v>2140.23545285416</c:v>
                </c:pt>
                <c:pt idx="293">
                  <c:v>2506.3152242749902</c:v>
                </c:pt>
                <c:pt idx="294">
                  <c:v>2137.7923270874899</c:v>
                </c:pt>
                <c:pt idx="295">
                  <c:v>2460.35066638749</c:v>
                </c:pt>
                <c:pt idx="296">
                  <c:v>2122.5202968374902</c:v>
                </c:pt>
                <c:pt idx="297">
                  <c:v>2413.4504149291602</c:v>
                </c:pt>
                <c:pt idx="298">
                  <c:v>2454.0782498888798</c:v>
                </c:pt>
                <c:pt idx="299">
                  <c:v>2702.1822030666599</c:v>
                </c:pt>
                <c:pt idx="300">
                  <c:v>2678.7584678062399</c:v>
                </c:pt>
                <c:pt idx="301">
                  <c:v>2736.0415722318098</c:v>
                </c:pt>
                <c:pt idx="302">
                  <c:v>2425.2262150699898</c:v>
                </c:pt>
                <c:pt idx="303">
                  <c:v>2471.2303256999899</c:v>
                </c:pt>
                <c:pt idx="304">
                  <c:v>2015.5064658958299</c:v>
                </c:pt>
                <c:pt idx="305">
                  <c:v>2465.7789927958302</c:v>
                </c:pt>
                <c:pt idx="306">
                  <c:v>1971.19641015555</c:v>
                </c:pt>
                <c:pt idx="307">
                  <c:v>2330.57700935</c:v>
                </c:pt>
                <c:pt idx="308">
                  <c:v>2225.8439881541599</c:v>
                </c:pt>
                <c:pt idx="309">
                  <c:v>2563.3973150874899</c:v>
                </c:pt>
                <c:pt idx="310">
                  <c:v>2178.5005601166599</c:v>
                </c:pt>
                <c:pt idx="311">
                  <c:v>2503.8253872708201</c:v>
                </c:pt>
                <c:pt idx="312">
                  <c:v>2083.68529156666</c:v>
                </c:pt>
                <c:pt idx="313">
                  <c:v>2555.2738623083301</c:v>
                </c:pt>
                <c:pt idx="314">
                  <c:v>2183.7037006874998</c:v>
                </c:pt>
                <c:pt idx="315">
                  <c:v>2578.8708050083301</c:v>
                </c:pt>
                <c:pt idx="316">
                  <c:v>2021.06139560833</c:v>
                </c:pt>
                <c:pt idx="317">
                  <c:v>2307.6349154958298</c:v>
                </c:pt>
                <c:pt idx="318">
                  <c:v>1877.57732694583</c:v>
                </c:pt>
                <c:pt idx="319">
                  <c:v>2290.7028185624899</c:v>
                </c:pt>
                <c:pt idx="320">
                  <c:v>2201.9893836583301</c:v>
                </c:pt>
                <c:pt idx="321">
                  <c:v>2536.5788713624902</c:v>
                </c:pt>
                <c:pt idx="322">
                  <c:v>2227.0405394958302</c:v>
                </c:pt>
                <c:pt idx="323">
                  <c:v>2665.6304535374902</c:v>
                </c:pt>
                <c:pt idx="324">
                  <c:v>2358.7919673049901</c:v>
                </c:pt>
                <c:pt idx="325">
                  <c:v>2582.399825</c:v>
                </c:pt>
                <c:pt idx="326">
                  <c:v>2205.4939439708301</c:v>
                </c:pt>
                <c:pt idx="327">
                  <c:v>2531.0467592124901</c:v>
                </c:pt>
                <c:pt idx="328">
                  <c:v>2264.1822469833301</c:v>
                </c:pt>
                <c:pt idx="329">
                  <c:v>2578.9773850833299</c:v>
                </c:pt>
                <c:pt idx="330">
                  <c:v>2073.3362390083298</c:v>
                </c:pt>
                <c:pt idx="331">
                  <c:v>2549.9073886291599</c:v>
                </c:pt>
                <c:pt idx="332">
                  <c:v>2066.1066521041598</c:v>
                </c:pt>
                <c:pt idx="333">
                  <c:v>2391.6909986791602</c:v>
                </c:pt>
                <c:pt idx="334">
                  <c:v>2231.3980455291598</c:v>
                </c:pt>
                <c:pt idx="335">
                  <c:v>2742.09098012499</c:v>
                </c:pt>
                <c:pt idx="336">
                  <c:v>2318.3316843083298</c:v>
                </c:pt>
                <c:pt idx="337">
                  <c:v>2765.9187628833301</c:v>
                </c:pt>
                <c:pt idx="338">
                  <c:v>2283.41872064166</c:v>
                </c:pt>
                <c:pt idx="339">
                  <c:v>2579.1935956208299</c:v>
                </c:pt>
                <c:pt idx="340">
                  <c:v>2345.47395315833</c:v>
                </c:pt>
                <c:pt idx="341">
                  <c:v>2774.09424652499</c:v>
                </c:pt>
                <c:pt idx="342">
                  <c:v>2511.9457208888798</c:v>
                </c:pt>
                <c:pt idx="343">
                  <c:v>2589.7789234666602</c:v>
                </c:pt>
                <c:pt idx="344">
                  <c:v>2260.8152649937501</c:v>
                </c:pt>
                <c:pt idx="345">
                  <c:v>2314.3122076</c:v>
                </c:pt>
                <c:pt idx="346">
                  <c:v>2167.0786755899899</c:v>
                </c:pt>
                <c:pt idx="347">
                  <c:v>2499.29126914166</c:v>
                </c:pt>
                <c:pt idx="348">
                  <c:v>2245.5092780908999</c:v>
                </c:pt>
                <c:pt idx="349">
                  <c:v>2493.59503287083</c:v>
                </c:pt>
                <c:pt idx="350">
                  <c:v>2274.4805100541598</c:v>
                </c:pt>
                <c:pt idx="351">
                  <c:v>2519.4081521583298</c:v>
                </c:pt>
                <c:pt idx="352">
                  <c:v>2344.2071731041601</c:v>
                </c:pt>
                <c:pt idx="353">
                  <c:v>2672.66476106666</c:v>
                </c:pt>
                <c:pt idx="354">
                  <c:v>2233.1198583833302</c:v>
                </c:pt>
                <c:pt idx="355">
                  <c:v>2668.0619382708301</c:v>
                </c:pt>
                <c:pt idx="356">
                  <c:v>2219.4378834791601</c:v>
                </c:pt>
                <c:pt idx="357">
                  <c:v>2484.5921682708299</c:v>
                </c:pt>
                <c:pt idx="358">
                  <c:v>1975.0117345541601</c:v>
                </c:pt>
                <c:pt idx="359">
                  <c:v>2351.1718993333302</c:v>
                </c:pt>
                <c:pt idx="360">
                  <c:v>2140.66846049374</c:v>
                </c:pt>
                <c:pt idx="361">
                  <c:v>2271.0611251458299</c:v>
                </c:pt>
                <c:pt idx="362">
                  <c:v>2574.4839794437498</c:v>
                </c:pt>
                <c:pt idx="363">
                  <c:v>2609.5576928791602</c:v>
                </c:pt>
                <c:pt idx="364">
                  <c:v>2346.5856706916602</c:v>
                </c:pt>
                <c:pt idx="365">
                  <c:v>2516.7227591958299</c:v>
                </c:pt>
                <c:pt idx="366">
                  <c:v>2310.1774498208301</c:v>
                </c:pt>
                <c:pt idx="367">
                  <c:v>2751.0745728249999</c:v>
                </c:pt>
                <c:pt idx="368">
                  <c:v>2400.1643356333302</c:v>
                </c:pt>
                <c:pt idx="369">
                  <c:v>2722.1102453374901</c:v>
                </c:pt>
                <c:pt idx="370">
                  <c:v>2495.8680823333302</c:v>
                </c:pt>
                <c:pt idx="371">
                  <c:v>2687.2987756124899</c:v>
                </c:pt>
                <c:pt idx="372">
                  <c:v>2199.4620709124902</c:v>
                </c:pt>
                <c:pt idx="373">
                  <c:v>2519.9222484124898</c:v>
                </c:pt>
                <c:pt idx="374">
                  <c:v>2144.8894027624901</c:v>
                </c:pt>
                <c:pt idx="375">
                  <c:v>2539.6737235833298</c:v>
                </c:pt>
                <c:pt idx="376">
                  <c:v>2440.8228677041602</c:v>
                </c:pt>
                <c:pt idx="377">
                  <c:v>2736.0700492958299</c:v>
                </c:pt>
                <c:pt idx="378">
                  <c:v>2403.47110140416</c:v>
                </c:pt>
                <c:pt idx="379">
                  <c:v>2780.5965677541599</c:v>
                </c:pt>
                <c:pt idx="380">
                  <c:v>2162.8221352833302</c:v>
                </c:pt>
                <c:pt idx="381">
                  <c:v>2573.8093451916602</c:v>
                </c:pt>
                <c:pt idx="382">
                  <c:v>2343.7493510458198</c:v>
                </c:pt>
                <c:pt idx="383">
                  <c:v>2857.1240147541598</c:v>
                </c:pt>
                <c:pt idx="384">
                  <c:v>2318.55609405416</c:v>
                </c:pt>
                <c:pt idx="385">
                  <c:v>2505.1996293375</c:v>
                </c:pt>
                <c:pt idx="386">
                  <c:v>2020.46666515416</c:v>
                </c:pt>
                <c:pt idx="387">
                  <c:v>2413.80579378333</c:v>
                </c:pt>
                <c:pt idx="388">
                  <c:v>1996.57660631249</c:v>
                </c:pt>
                <c:pt idx="389">
                  <c:v>2352.0824248041599</c:v>
                </c:pt>
                <c:pt idx="390">
                  <c:v>2143.90196194583</c:v>
                </c:pt>
                <c:pt idx="391">
                  <c:v>2606.9075596708299</c:v>
                </c:pt>
                <c:pt idx="392">
                  <c:v>2324.38466607499</c:v>
                </c:pt>
                <c:pt idx="393">
                  <c:v>2648.5148793624899</c:v>
                </c:pt>
                <c:pt idx="394">
                  <c:v>2291.0671482749899</c:v>
                </c:pt>
                <c:pt idx="395">
                  <c:v>2642.4324848708302</c:v>
                </c:pt>
                <c:pt idx="396">
                  <c:v>2486.63121728749</c:v>
                </c:pt>
                <c:pt idx="397">
                  <c:v>2778.6083636916601</c:v>
                </c:pt>
                <c:pt idx="398">
                  <c:v>2422.4372520291599</c:v>
                </c:pt>
                <c:pt idx="399">
                  <c:v>2721.7999010458302</c:v>
                </c:pt>
                <c:pt idx="400">
                  <c:v>2212.9776560874898</c:v>
                </c:pt>
                <c:pt idx="401">
                  <c:v>2501.9361610916599</c:v>
                </c:pt>
                <c:pt idx="402">
                  <c:v>2111.5541722166599</c:v>
                </c:pt>
                <c:pt idx="403">
                  <c:v>2530.7492368666599</c:v>
                </c:pt>
                <c:pt idx="404">
                  <c:v>2497.3223774458202</c:v>
                </c:pt>
                <c:pt idx="405">
                  <c:v>2732.7460427999999</c:v>
                </c:pt>
                <c:pt idx="406">
                  <c:v>2439.8128192833301</c:v>
                </c:pt>
                <c:pt idx="407">
                  <c:v>2564.54435559999</c:v>
                </c:pt>
                <c:pt idx="408">
                  <c:v>2039.49136985833</c:v>
                </c:pt>
                <c:pt idx="409">
                  <c:v>2476.18546571249</c:v>
                </c:pt>
                <c:pt idx="410">
                  <c:v>2162.33460924166</c:v>
                </c:pt>
                <c:pt idx="411">
                  <c:v>2505.5693950791601</c:v>
                </c:pt>
                <c:pt idx="412">
                  <c:v>2241.4802592041601</c:v>
                </c:pt>
                <c:pt idx="413">
                  <c:v>2905.0637619208301</c:v>
                </c:pt>
                <c:pt idx="414">
                  <c:v>2179.3773501249898</c:v>
                </c:pt>
                <c:pt idx="415">
                  <c:v>2483.37733289166</c:v>
                </c:pt>
                <c:pt idx="416">
                  <c:v>1970.0525984583301</c:v>
                </c:pt>
                <c:pt idx="417">
                  <c:v>2421.4947473458301</c:v>
                </c:pt>
                <c:pt idx="418">
                  <c:v>2258.18339816249</c:v>
                </c:pt>
                <c:pt idx="419">
                  <c:v>2689.0604894916601</c:v>
                </c:pt>
                <c:pt idx="420">
                  <c:v>2404.6785901416602</c:v>
                </c:pt>
                <c:pt idx="421">
                  <c:v>2544.4278952458299</c:v>
                </c:pt>
                <c:pt idx="422">
                  <c:v>2210.3872715416601</c:v>
                </c:pt>
                <c:pt idx="423">
                  <c:v>2609.8060056208301</c:v>
                </c:pt>
                <c:pt idx="424">
                  <c:v>2268.1242514916598</c:v>
                </c:pt>
                <c:pt idx="425">
                  <c:v>2530.30713499166</c:v>
                </c:pt>
                <c:pt idx="426">
                  <c:v>2248.5141886624901</c:v>
                </c:pt>
                <c:pt idx="427">
                  <c:v>2468.9981134874902</c:v>
                </c:pt>
                <c:pt idx="428">
                  <c:v>2007.1091398083299</c:v>
                </c:pt>
                <c:pt idx="429">
                  <c:v>2283.2115860958302</c:v>
                </c:pt>
                <c:pt idx="430">
                  <c:v>1926.3508711791601</c:v>
                </c:pt>
                <c:pt idx="431">
                  <c:v>2254.4026167624902</c:v>
                </c:pt>
                <c:pt idx="432">
                  <c:v>2097.32178277499</c:v>
                </c:pt>
                <c:pt idx="433">
                  <c:v>2447.0156194791598</c:v>
                </c:pt>
                <c:pt idx="434">
                  <c:v>2058.4143178874901</c:v>
                </c:pt>
                <c:pt idx="435">
                  <c:v>2263.9383129583298</c:v>
                </c:pt>
                <c:pt idx="436">
                  <c:v>2234.9891930833301</c:v>
                </c:pt>
                <c:pt idx="437">
                  <c:v>2535.4648421291599</c:v>
                </c:pt>
                <c:pt idx="438">
                  <c:v>2119.8378024249901</c:v>
                </c:pt>
                <c:pt idx="439">
                  <c:v>2611.1508810291598</c:v>
                </c:pt>
                <c:pt idx="440">
                  <c:v>2252.2625322999902</c:v>
                </c:pt>
                <c:pt idx="441">
                  <c:v>2435.58375557916</c:v>
                </c:pt>
                <c:pt idx="442">
                  <c:v>2012.25450448333</c:v>
                </c:pt>
                <c:pt idx="443">
                  <c:v>2306.09973747083</c:v>
                </c:pt>
                <c:pt idx="444">
                  <c:v>1922.23204700416</c:v>
                </c:pt>
                <c:pt idx="445">
                  <c:v>2271.5186199166601</c:v>
                </c:pt>
                <c:pt idx="446">
                  <c:v>2173.2485973624898</c:v>
                </c:pt>
                <c:pt idx="447">
                  <c:v>2599.35337378333</c:v>
                </c:pt>
                <c:pt idx="448">
                  <c:v>2275.3774637166598</c:v>
                </c:pt>
                <c:pt idx="449">
                  <c:v>2572.1158187249898</c:v>
                </c:pt>
                <c:pt idx="450">
                  <c:v>2332.2469968083201</c:v>
                </c:pt>
                <c:pt idx="451">
                  <c:v>2522.0577934541602</c:v>
                </c:pt>
                <c:pt idx="452">
                  <c:v>2178.5971232791599</c:v>
                </c:pt>
                <c:pt idx="453">
                  <c:v>2640.2822745583298</c:v>
                </c:pt>
                <c:pt idx="454">
                  <c:v>2262.52688914583</c:v>
                </c:pt>
                <c:pt idx="455">
                  <c:v>2547.7255107166602</c:v>
                </c:pt>
                <c:pt idx="456">
                  <c:v>2002.28532935416</c:v>
                </c:pt>
                <c:pt idx="457">
                  <c:v>2471.14781382916</c:v>
                </c:pt>
                <c:pt idx="458">
                  <c:v>1884.5189767458301</c:v>
                </c:pt>
                <c:pt idx="459">
                  <c:v>2284.6860655041601</c:v>
                </c:pt>
                <c:pt idx="460">
                  <c:v>2074.9366848416598</c:v>
                </c:pt>
                <c:pt idx="461">
                  <c:v>2416.9764224291598</c:v>
                </c:pt>
                <c:pt idx="462">
                  <c:v>2351.8879272875001</c:v>
                </c:pt>
                <c:pt idx="463">
                  <c:v>2486.4495979416602</c:v>
                </c:pt>
                <c:pt idx="464">
                  <c:v>2205.80877638333</c:v>
                </c:pt>
                <c:pt idx="465">
                  <c:v>2463.8877806208302</c:v>
                </c:pt>
                <c:pt idx="466">
                  <c:v>2389.5416550772702</c:v>
                </c:pt>
                <c:pt idx="467">
                  <c:v>2462.3126748458299</c:v>
                </c:pt>
                <c:pt idx="468">
                  <c:v>2597.9697656916601</c:v>
                </c:pt>
                <c:pt idx="469">
                  <c:v>2343.0126144708302</c:v>
                </c:pt>
                <c:pt idx="470">
                  <c:v>1935.67293994999</c:v>
                </c:pt>
                <c:pt idx="471">
                  <c:v>2169.6442316708199</c:v>
                </c:pt>
                <c:pt idx="472">
                  <c:v>1945.7263270999899</c:v>
                </c:pt>
                <c:pt idx="473">
                  <c:v>2415.7238709749899</c:v>
                </c:pt>
                <c:pt idx="474">
                  <c:v>2155.8468403083298</c:v>
                </c:pt>
                <c:pt idx="475">
                  <c:v>2488.4190322208301</c:v>
                </c:pt>
                <c:pt idx="476">
                  <c:v>2225.5085196499999</c:v>
                </c:pt>
                <c:pt idx="477">
                  <c:v>2729.62043478749</c:v>
                </c:pt>
                <c:pt idx="478">
                  <c:v>2310.9775189749898</c:v>
                </c:pt>
                <c:pt idx="479">
                  <c:v>2549.6945594041599</c:v>
                </c:pt>
                <c:pt idx="480">
                  <c:v>2250.2431120541601</c:v>
                </c:pt>
                <c:pt idx="481">
                  <c:v>2474.0586088999898</c:v>
                </c:pt>
                <c:pt idx="482">
                  <c:v>2181.92416806249</c:v>
                </c:pt>
                <c:pt idx="483">
                  <c:v>2459.62038521249</c:v>
                </c:pt>
                <c:pt idx="484">
                  <c:v>2001.1209491583299</c:v>
                </c:pt>
                <c:pt idx="485">
                  <c:v>2264.75547124166</c:v>
                </c:pt>
                <c:pt idx="486">
                  <c:v>1921.8538409166599</c:v>
                </c:pt>
                <c:pt idx="487">
                  <c:v>2338.8713482916601</c:v>
                </c:pt>
                <c:pt idx="488">
                  <c:v>2248.2096055541601</c:v>
                </c:pt>
                <c:pt idx="489">
                  <c:v>2430.7613596208298</c:v>
                </c:pt>
                <c:pt idx="490">
                  <c:v>2143.8002868999902</c:v>
                </c:pt>
                <c:pt idx="491">
                  <c:v>2488.10847363333</c:v>
                </c:pt>
                <c:pt idx="492">
                  <c:v>2079.2519090791602</c:v>
                </c:pt>
                <c:pt idx="493">
                  <c:v>2292.28191523333</c:v>
                </c:pt>
                <c:pt idx="494">
                  <c:v>2187.0871952124999</c:v>
                </c:pt>
                <c:pt idx="495">
                  <c:v>2578.1538939624902</c:v>
                </c:pt>
                <c:pt idx="496">
                  <c:v>2073.3774350125</c:v>
                </c:pt>
                <c:pt idx="497">
                  <c:v>2368.6728615124898</c:v>
                </c:pt>
                <c:pt idx="498">
                  <c:v>2047.0225873166601</c:v>
                </c:pt>
                <c:pt idx="499">
                  <c:v>2192.4860586999898</c:v>
                </c:pt>
                <c:pt idx="500">
                  <c:v>1873.06487834583</c:v>
                </c:pt>
                <c:pt idx="501">
                  <c:v>2222.5540251458301</c:v>
                </c:pt>
                <c:pt idx="502">
                  <c:v>2121.8563898791599</c:v>
                </c:pt>
                <c:pt idx="503">
                  <c:v>2453.3169167750002</c:v>
                </c:pt>
                <c:pt idx="504">
                  <c:v>2205.2623963208298</c:v>
                </c:pt>
                <c:pt idx="505">
                  <c:v>2507.6118844083298</c:v>
                </c:pt>
                <c:pt idx="506">
                  <c:v>2188.4652711458298</c:v>
                </c:pt>
                <c:pt idx="507">
                  <c:v>2584.44164734999</c:v>
                </c:pt>
                <c:pt idx="508">
                  <c:v>2158.9195386124902</c:v>
                </c:pt>
                <c:pt idx="509">
                  <c:v>2390.7399585374901</c:v>
                </c:pt>
                <c:pt idx="510">
                  <c:v>2250.0891999208302</c:v>
                </c:pt>
                <c:pt idx="511">
                  <c:v>2573.5470409049899</c:v>
                </c:pt>
                <c:pt idx="512">
                  <c:v>1949.9912697541599</c:v>
                </c:pt>
                <c:pt idx="513">
                  <c:v>2521.4858069583302</c:v>
                </c:pt>
                <c:pt idx="514">
                  <c:v>2023.5993877916601</c:v>
                </c:pt>
                <c:pt idx="515">
                  <c:v>2372.4070769416599</c:v>
                </c:pt>
                <c:pt idx="516">
                  <c:v>2288.5283720166599</c:v>
                </c:pt>
                <c:pt idx="517">
                  <c:v>2750.9170458041599</c:v>
                </c:pt>
                <c:pt idx="518">
                  <c:v>2395.3668768041598</c:v>
                </c:pt>
                <c:pt idx="519">
                  <c:v>2506.8038927499902</c:v>
                </c:pt>
                <c:pt idx="520">
                  <c:v>2280.4726940291598</c:v>
                </c:pt>
                <c:pt idx="521">
                  <c:v>2566.9448365708299</c:v>
                </c:pt>
                <c:pt idx="522">
                  <c:v>2116.5523292124899</c:v>
                </c:pt>
                <c:pt idx="523">
                  <c:v>2461.1738193708302</c:v>
                </c:pt>
                <c:pt idx="524">
                  <c:v>2288.29357438332</c:v>
                </c:pt>
                <c:pt idx="525">
                  <c:v>2493.1580491749901</c:v>
                </c:pt>
                <c:pt idx="526">
                  <c:v>1997.42899145416</c:v>
                </c:pt>
                <c:pt idx="527">
                  <c:v>2123.2153123916601</c:v>
                </c:pt>
                <c:pt idx="528">
                  <c:v>1959.9531131199999</c:v>
                </c:pt>
                <c:pt idx="529">
                  <c:v>2364.44915055416</c:v>
                </c:pt>
                <c:pt idx="530">
                  <c:v>2248.0190105124898</c:v>
                </c:pt>
                <c:pt idx="531">
                  <c:v>2449.8866331333302</c:v>
                </c:pt>
                <c:pt idx="532">
                  <c:v>2096.2388598541602</c:v>
                </c:pt>
                <c:pt idx="533">
                  <c:v>2440.3553028374899</c:v>
                </c:pt>
                <c:pt idx="534">
                  <c:v>2174.9172505541601</c:v>
                </c:pt>
                <c:pt idx="535">
                  <c:v>2413.5105322916602</c:v>
                </c:pt>
                <c:pt idx="536">
                  <c:v>2185.6362948291599</c:v>
                </c:pt>
                <c:pt idx="537">
                  <c:v>2488.2033734500001</c:v>
                </c:pt>
                <c:pt idx="538">
                  <c:v>2231.6066298124902</c:v>
                </c:pt>
                <c:pt idx="539">
                  <c:v>2409.3805057374898</c:v>
                </c:pt>
                <c:pt idx="540">
                  <c:v>1921.2692918958301</c:v>
                </c:pt>
                <c:pt idx="541">
                  <c:v>2087.1779811166598</c:v>
                </c:pt>
                <c:pt idx="542">
                  <c:v>1892.1575970958299</c:v>
                </c:pt>
                <c:pt idx="543">
                  <c:v>2173.0139887708301</c:v>
                </c:pt>
                <c:pt idx="544">
                  <c:v>1895.0546239416601</c:v>
                </c:pt>
                <c:pt idx="545">
                  <c:v>2193.5688543291599</c:v>
                </c:pt>
                <c:pt idx="546">
                  <c:v>2045.4487360916601</c:v>
                </c:pt>
                <c:pt idx="547">
                  <c:v>2551.9848045416602</c:v>
                </c:pt>
                <c:pt idx="548">
                  <c:v>2031.1868413249899</c:v>
                </c:pt>
                <c:pt idx="549">
                  <c:v>2302.8370136041599</c:v>
                </c:pt>
                <c:pt idx="550">
                  <c:v>2265.20051680714</c:v>
                </c:pt>
                <c:pt idx="551">
                  <c:v>2274.5985309624898</c:v>
                </c:pt>
                <c:pt idx="552">
                  <c:v>2135.9982475583301</c:v>
                </c:pt>
                <c:pt idx="553">
                  <c:v>2375.1063702249899</c:v>
                </c:pt>
                <c:pt idx="554">
                  <c:v>2001.9841070999901</c:v>
                </c:pt>
                <c:pt idx="555">
                  <c:v>2222.6508015458298</c:v>
                </c:pt>
                <c:pt idx="556">
                  <c:v>1869.44751362083</c:v>
                </c:pt>
                <c:pt idx="557">
                  <c:v>2031.8905010416599</c:v>
                </c:pt>
                <c:pt idx="558">
                  <c:v>2070.8754603000002</c:v>
                </c:pt>
                <c:pt idx="559">
                  <c:v>2413.41911486249</c:v>
                </c:pt>
                <c:pt idx="560">
                  <c:v>2139.0103975458301</c:v>
                </c:pt>
                <c:pt idx="561">
                  <c:v>2448.6224742749901</c:v>
                </c:pt>
                <c:pt idx="562">
                  <c:v>2178.94914845416</c:v>
                </c:pt>
                <c:pt idx="563">
                  <c:v>2403.7327108333302</c:v>
                </c:pt>
                <c:pt idx="564">
                  <c:v>2120.5494546333298</c:v>
                </c:pt>
                <c:pt idx="565">
                  <c:v>2471.67496623749</c:v>
                </c:pt>
                <c:pt idx="566">
                  <c:v>2086.25206199583</c:v>
                </c:pt>
                <c:pt idx="567">
                  <c:v>2442.8866810416598</c:v>
                </c:pt>
                <c:pt idx="568">
                  <c:v>1963.9878850208299</c:v>
                </c:pt>
                <c:pt idx="569">
                  <c:v>2139.9399515208302</c:v>
                </c:pt>
                <c:pt idx="570">
                  <c:v>1766.14336092083</c:v>
                </c:pt>
                <c:pt idx="571">
                  <c:v>2132.2404888999999</c:v>
                </c:pt>
                <c:pt idx="572">
                  <c:v>2083.7589468916599</c:v>
                </c:pt>
                <c:pt idx="573">
                  <c:v>2341.1671416499998</c:v>
                </c:pt>
                <c:pt idx="574">
                  <c:v>2093.52091827916</c:v>
                </c:pt>
                <c:pt idx="575">
                  <c:v>2386.4904451791599</c:v>
                </c:pt>
                <c:pt idx="576">
                  <c:v>2032.8935772208299</c:v>
                </c:pt>
                <c:pt idx="577">
                  <c:v>2301.3289821916601</c:v>
                </c:pt>
                <c:pt idx="578">
                  <c:v>2119.0852012249902</c:v>
                </c:pt>
                <c:pt idx="579">
                  <c:v>2325.9137709333299</c:v>
                </c:pt>
                <c:pt idx="580">
                  <c:v>2009.09985255833</c:v>
                </c:pt>
                <c:pt idx="581">
                  <c:v>2283.4003024624899</c:v>
                </c:pt>
                <c:pt idx="582">
                  <c:v>1919.3676576749899</c:v>
                </c:pt>
                <c:pt idx="583">
                  <c:v>2286.60910756249</c:v>
                </c:pt>
                <c:pt idx="584">
                  <c:v>1848.7247567541599</c:v>
                </c:pt>
                <c:pt idx="585">
                  <c:v>2055.5258291749901</c:v>
                </c:pt>
                <c:pt idx="586">
                  <c:v>2065.4158662874902</c:v>
                </c:pt>
                <c:pt idx="587">
                  <c:v>2347.5712044791599</c:v>
                </c:pt>
                <c:pt idx="588">
                  <c:v>1953.4718825083301</c:v>
                </c:pt>
                <c:pt idx="589">
                  <c:v>2347.2038133833298</c:v>
                </c:pt>
                <c:pt idx="590">
                  <c:v>2089.9674572541599</c:v>
                </c:pt>
                <c:pt idx="591">
                  <c:v>2308.8326177374902</c:v>
                </c:pt>
                <c:pt idx="592">
                  <c:v>2021.69496208333</c:v>
                </c:pt>
                <c:pt idx="593">
                  <c:v>2344.4569725874899</c:v>
                </c:pt>
                <c:pt idx="594">
                  <c:v>1995.2366470833299</c:v>
                </c:pt>
                <c:pt idx="595">
                  <c:v>2290.1569567916599</c:v>
                </c:pt>
                <c:pt idx="596">
                  <c:v>1905.2592441166601</c:v>
                </c:pt>
                <c:pt idx="597">
                  <c:v>2075.94736607916</c:v>
                </c:pt>
                <c:pt idx="598">
                  <c:v>1785.0475021541599</c:v>
                </c:pt>
                <c:pt idx="599">
                  <c:v>2224.8661248083299</c:v>
                </c:pt>
                <c:pt idx="600">
                  <c:v>2128.69922132499</c:v>
                </c:pt>
                <c:pt idx="601">
                  <c:v>2480.6346454208301</c:v>
                </c:pt>
                <c:pt idx="602">
                  <c:v>2124.5476204874999</c:v>
                </c:pt>
                <c:pt idx="603">
                  <c:v>2571.44064713749</c:v>
                </c:pt>
                <c:pt idx="604">
                  <c:v>2217.5268075249901</c:v>
                </c:pt>
                <c:pt idx="605">
                  <c:v>2683.7011060749901</c:v>
                </c:pt>
                <c:pt idx="606">
                  <c:v>2215.4528255416599</c:v>
                </c:pt>
                <c:pt idx="607">
                  <c:v>2554.6916965374899</c:v>
                </c:pt>
                <c:pt idx="608">
                  <c:v>2151.4010383208301</c:v>
                </c:pt>
                <c:pt idx="609">
                  <c:v>2318.9251723624898</c:v>
                </c:pt>
                <c:pt idx="610">
                  <c:v>1916.7523576624901</c:v>
                </c:pt>
                <c:pt idx="611">
                  <c:v>2233.5855653583299</c:v>
                </c:pt>
                <c:pt idx="612">
                  <c:v>1842.9941724181799</c:v>
                </c:pt>
                <c:pt idx="613">
                  <c:v>2396.8332543874999</c:v>
                </c:pt>
                <c:pt idx="614">
                  <c:v>2408.6852115666602</c:v>
                </c:pt>
                <c:pt idx="615">
                  <c:v>2942.7936255916602</c:v>
                </c:pt>
                <c:pt idx="616">
                  <c:v>2237.4565533958298</c:v>
                </c:pt>
                <c:pt idx="617">
                  <c:v>2495.2396494291602</c:v>
                </c:pt>
                <c:pt idx="618">
                  <c:v>2130.4837477833298</c:v>
                </c:pt>
                <c:pt idx="619">
                  <c:v>2358.7742951124901</c:v>
                </c:pt>
                <c:pt idx="620">
                  <c:v>2085.4095028833299</c:v>
                </c:pt>
                <c:pt idx="621">
                  <c:v>2406.06192685</c:v>
                </c:pt>
                <c:pt idx="622">
                  <c:v>2127.6195419083301</c:v>
                </c:pt>
                <c:pt idx="623">
                  <c:v>2560.4690787166601</c:v>
                </c:pt>
                <c:pt idx="624">
                  <c:v>1850.07687563749</c:v>
                </c:pt>
                <c:pt idx="625">
                  <c:v>2426.7125137999901</c:v>
                </c:pt>
                <c:pt idx="626">
                  <c:v>1944.93938328749</c:v>
                </c:pt>
                <c:pt idx="627">
                  <c:v>2505.62112916666</c:v>
                </c:pt>
                <c:pt idx="628">
                  <c:v>2269.7310178791599</c:v>
                </c:pt>
                <c:pt idx="629">
                  <c:v>2653.8419085916598</c:v>
                </c:pt>
                <c:pt idx="630">
                  <c:v>2142.6655492416598</c:v>
                </c:pt>
                <c:pt idx="631">
                  <c:v>2586.2336037499899</c:v>
                </c:pt>
                <c:pt idx="632">
                  <c:v>2057.5499015749901</c:v>
                </c:pt>
                <c:pt idx="633">
                  <c:v>2420.3933309416602</c:v>
                </c:pt>
                <c:pt idx="634">
                  <c:v>2060.3646132583299</c:v>
                </c:pt>
                <c:pt idx="635">
                  <c:v>2679.9089147124901</c:v>
                </c:pt>
                <c:pt idx="636">
                  <c:v>2216.1711631458302</c:v>
                </c:pt>
                <c:pt idx="637">
                  <c:v>2859.29657275416</c:v>
                </c:pt>
                <c:pt idx="638">
                  <c:v>2109.5862018166599</c:v>
                </c:pt>
                <c:pt idx="639">
                  <c:v>2827.9392348166598</c:v>
                </c:pt>
                <c:pt idx="640">
                  <c:v>2155.9553043333199</c:v>
                </c:pt>
                <c:pt idx="641">
                  <c:v>2406.6276335666598</c:v>
                </c:pt>
                <c:pt idx="642">
                  <c:v>2279.2814025999901</c:v>
                </c:pt>
                <c:pt idx="643">
                  <c:v>2478.70375900416</c:v>
                </c:pt>
                <c:pt idx="644">
                  <c:v>2198.4836424888799</c:v>
                </c:pt>
                <c:pt idx="645">
                  <c:v>2294.2215229999902</c:v>
                </c:pt>
                <c:pt idx="646">
                  <c:v>2159.42412805714</c:v>
                </c:pt>
                <c:pt idx="647">
                  <c:v>2379.47266078749</c:v>
                </c:pt>
                <c:pt idx="648">
                  <c:v>2352.6478747687402</c:v>
                </c:pt>
                <c:pt idx="649">
                  <c:v>2646.2014103333299</c:v>
                </c:pt>
                <c:pt idx="650">
                  <c:v>2272.50585269166</c:v>
                </c:pt>
                <c:pt idx="651">
                  <c:v>2652.7158889541602</c:v>
                </c:pt>
                <c:pt idx="652">
                  <c:v>2005.0910042666601</c:v>
                </c:pt>
                <c:pt idx="653">
                  <c:v>2234.64248065416</c:v>
                </c:pt>
                <c:pt idx="654">
                  <c:v>1864.3924599833299</c:v>
                </c:pt>
                <c:pt idx="655">
                  <c:v>2024.61291038333</c:v>
                </c:pt>
                <c:pt idx="656">
                  <c:v>2005.26518903749</c:v>
                </c:pt>
                <c:pt idx="657">
                  <c:v>2374.9275914636301</c:v>
                </c:pt>
                <c:pt idx="658">
                  <c:v>2211.1820126428502</c:v>
                </c:pt>
                <c:pt idx="659">
                  <c:v>2294.1619328166598</c:v>
                </c:pt>
                <c:pt idx="660">
                  <c:v>2257.7592412888798</c:v>
                </c:pt>
                <c:pt idx="661">
                  <c:v>2585.15837254999</c:v>
                </c:pt>
                <c:pt idx="662">
                  <c:v>2375.3230907249999</c:v>
                </c:pt>
                <c:pt idx="663">
                  <c:v>2790.3557368124998</c:v>
                </c:pt>
                <c:pt idx="664">
                  <c:v>2180.8448973541599</c:v>
                </c:pt>
                <c:pt idx="665">
                  <c:v>2363.5114587958301</c:v>
                </c:pt>
                <c:pt idx="666">
                  <c:v>1955.8362672041601</c:v>
                </c:pt>
                <c:pt idx="667">
                  <c:v>2182.4259742499898</c:v>
                </c:pt>
                <c:pt idx="668">
                  <c:v>1895.8564256833299</c:v>
                </c:pt>
                <c:pt idx="669">
                  <c:v>2189.5764108874901</c:v>
                </c:pt>
                <c:pt idx="670">
                  <c:v>2183.9110040708301</c:v>
                </c:pt>
                <c:pt idx="671">
                  <c:v>2385.10862179999</c:v>
                </c:pt>
                <c:pt idx="672">
                  <c:v>2154.4983601099898</c:v>
                </c:pt>
                <c:pt idx="673">
                  <c:v>2305.9135916333298</c:v>
                </c:pt>
                <c:pt idx="674">
                  <c:v>2196.01977080999</c:v>
                </c:pt>
                <c:pt idx="675">
                  <c:v>2522.4646424208299</c:v>
                </c:pt>
                <c:pt idx="676">
                  <c:v>2208.3186528055498</c:v>
                </c:pt>
                <c:pt idx="677">
                  <c:v>2698.2957979499902</c:v>
                </c:pt>
                <c:pt idx="678">
                  <c:v>2409.15837637083</c:v>
                </c:pt>
                <c:pt idx="679">
                  <c:v>2971.8434390499901</c:v>
                </c:pt>
                <c:pt idx="680">
                  <c:v>2197.7155545416599</c:v>
                </c:pt>
                <c:pt idx="681">
                  <c:v>2426.7325211499901</c:v>
                </c:pt>
                <c:pt idx="682">
                  <c:v>1917.03239828749</c:v>
                </c:pt>
                <c:pt idx="683">
                  <c:v>2237.1392458958298</c:v>
                </c:pt>
                <c:pt idx="684">
                  <c:v>2091.6083745166602</c:v>
                </c:pt>
                <c:pt idx="685">
                  <c:v>2455.1946747249899</c:v>
                </c:pt>
                <c:pt idx="686">
                  <c:v>2079.37890237083</c:v>
                </c:pt>
                <c:pt idx="687">
                  <c:v>2727.84421164166</c:v>
                </c:pt>
                <c:pt idx="688">
                  <c:v>2275.3221316999902</c:v>
                </c:pt>
                <c:pt idx="689">
                  <c:v>2934.10397338333</c:v>
                </c:pt>
                <c:pt idx="690">
                  <c:v>2528.1358425708299</c:v>
                </c:pt>
                <c:pt idx="691">
                  <c:v>3237.7991635416602</c:v>
                </c:pt>
                <c:pt idx="692">
                  <c:v>2579.88358816249</c:v>
                </c:pt>
                <c:pt idx="693">
                  <c:v>3354.06702878333</c:v>
                </c:pt>
                <c:pt idx="694">
                  <c:v>2559.6294510166599</c:v>
                </c:pt>
                <c:pt idx="695">
                  <c:v>3264.2371815874999</c:v>
                </c:pt>
                <c:pt idx="696">
                  <c:v>2490.9887963749902</c:v>
                </c:pt>
                <c:pt idx="697">
                  <c:v>3251.3771467833299</c:v>
                </c:pt>
                <c:pt idx="698">
                  <c:v>2665.4244438291598</c:v>
                </c:pt>
                <c:pt idx="699">
                  <c:v>3741.0290686124899</c:v>
                </c:pt>
                <c:pt idx="700">
                  <c:v>2649.4351034708302</c:v>
                </c:pt>
                <c:pt idx="701">
                  <c:v>2959.3260986374898</c:v>
                </c:pt>
                <c:pt idx="702">
                  <c:v>2373.5209118875</c:v>
                </c:pt>
                <c:pt idx="703">
                  <c:v>2643.75417673333</c:v>
                </c:pt>
                <c:pt idx="704">
                  <c:v>2349.5559309416599</c:v>
                </c:pt>
                <c:pt idx="705">
                  <c:v>2650.2210921333299</c:v>
                </c:pt>
                <c:pt idx="706">
                  <c:v>2229.1072341291601</c:v>
                </c:pt>
                <c:pt idx="707">
                  <c:v>2575.2386780583302</c:v>
                </c:pt>
                <c:pt idx="708">
                  <c:v>2011.6750117916599</c:v>
                </c:pt>
                <c:pt idx="709">
                  <c:v>2307.4126483291602</c:v>
                </c:pt>
                <c:pt idx="710">
                  <c:v>1953.2140380416599</c:v>
                </c:pt>
                <c:pt idx="711">
                  <c:v>2361.0739734083299</c:v>
                </c:pt>
                <c:pt idx="712">
                  <c:v>2209.59354426666</c:v>
                </c:pt>
                <c:pt idx="713">
                  <c:v>2695.2328788791601</c:v>
                </c:pt>
                <c:pt idx="714">
                  <c:v>2273.2429503499998</c:v>
                </c:pt>
                <c:pt idx="715">
                  <c:v>2567.2627502791602</c:v>
                </c:pt>
                <c:pt idx="716">
                  <c:v>2067.9224790958301</c:v>
                </c:pt>
                <c:pt idx="717">
                  <c:v>2223.43608991666</c:v>
                </c:pt>
                <c:pt idx="718">
                  <c:v>1903.0920479833301</c:v>
                </c:pt>
                <c:pt idx="719">
                  <c:v>2306.4151266624899</c:v>
                </c:pt>
                <c:pt idx="720">
                  <c:v>2159.7068845916601</c:v>
                </c:pt>
                <c:pt idx="721">
                  <c:v>2454.2576683458301</c:v>
                </c:pt>
                <c:pt idx="722">
                  <c:v>2020.5694791727201</c:v>
                </c:pt>
                <c:pt idx="723">
                  <c:v>2363.03645631666</c:v>
                </c:pt>
                <c:pt idx="724">
                  <c:v>1970.46141897499</c:v>
                </c:pt>
                <c:pt idx="725">
                  <c:v>2549.5566624166599</c:v>
                </c:pt>
                <c:pt idx="726">
                  <c:v>2301.8357706833299</c:v>
                </c:pt>
                <c:pt idx="727">
                  <c:v>2660.8662708624902</c:v>
                </c:pt>
                <c:pt idx="728">
                  <c:v>2197.6303354583301</c:v>
                </c:pt>
                <c:pt idx="729">
                  <c:v>2379.96887625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C26-40A8-8C90-33B33A8B1D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7887871"/>
        <c:axId val="587883295"/>
      </c:scatterChart>
      <c:valAx>
        <c:axId val="58788787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7883295"/>
        <c:crosses val="autoZero"/>
        <c:crossBetween val="midCat"/>
      </c:valAx>
      <c:valAx>
        <c:axId val="5878832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788787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ko-KR"/>
              <a:t>Soft Wate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Sheet1!$E$2</c:f>
              <c:strCache>
                <c:ptCount val="1"/>
                <c:pt idx="0">
                  <c:v>Market Water Demand (Giga-Litres)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D$3:$D$732</c:f>
              <c:numCache>
                <c:formatCode>"$"#,##0.00</c:formatCode>
                <c:ptCount val="730"/>
                <c:pt idx="0">
                  <c:v>89.334249999999997</c:v>
                </c:pt>
                <c:pt idx="1">
                  <c:v>61.945999999999998</c:v>
                </c:pt>
                <c:pt idx="2">
                  <c:v>45.9017499999999</c:v>
                </c:pt>
                <c:pt idx="3">
                  <c:v>80.858249999999998</c:v>
                </c:pt>
                <c:pt idx="4">
                  <c:v>55.961833333333303</c:v>
                </c:pt>
                <c:pt idx="5">
                  <c:v>101.094833333333</c:v>
                </c:pt>
                <c:pt idx="6">
                  <c:v>26.664999999999999</c:v>
                </c:pt>
                <c:pt idx="7">
                  <c:v>38.894545454545401</c:v>
                </c:pt>
                <c:pt idx="8">
                  <c:v>46.715000000000003</c:v>
                </c:pt>
                <c:pt idx="9">
                  <c:v>46.208636363636302</c:v>
                </c:pt>
                <c:pt idx="10">
                  <c:v>41.856000000000002</c:v>
                </c:pt>
                <c:pt idx="11">
                  <c:v>46.013749999999902</c:v>
                </c:pt>
                <c:pt idx="12">
                  <c:v>34.894374999999997</c:v>
                </c:pt>
                <c:pt idx="13">
                  <c:v>53.312916666666602</c:v>
                </c:pt>
                <c:pt idx="14">
                  <c:v>70.307083333333296</c:v>
                </c:pt>
                <c:pt idx="15">
                  <c:v>64.552916666666604</c:v>
                </c:pt>
                <c:pt idx="16">
                  <c:v>49.776249999999997</c:v>
                </c:pt>
                <c:pt idx="17">
                  <c:v>61.483333333333299</c:v>
                </c:pt>
                <c:pt idx="18">
                  <c:v>56.407083333333297</c:v>
                </c:pt>
                <c:pt idx="19">
                  <c:v>69.813749999999999</c:v>
                </c:pt>
                <c:pt idx="20">
                  <c:v>53.609583333333298</c:v>
                </c:pt>
                <c:pt idx="21">
                  <c:v>53.2916666666666</c:v>
                </c:pt>
                <c:pt idx="22">
                  <c:v>53.844583333333297</c:v>
                </c:pt>
                <c:pt idx="23">
                  <c:v>53.347916666666599</c:v>
                </c:pt>
                <c:pt idx="24">
                  <c:v>55.712166666666597</c:v>
                </c:pt>
                <c:pt idx="25">
                  <c:v>66.450833333333307</c:v>
                </c:pt>
                <c:pt idx="26">
                  <c:v>78.998583333333301</c:v>
                </c:pt>
                <c:pt idx="27">
                  <c:v>159.797333333333</c:v>
                </c:pt>
                <c:pt idx="28">
                  <c:v>108.42100000000001</c:v>
                </c:pt>
                <c:pt idx="29">
                  <c:v>132.91399999999999</c:v>
                </c:pt>
                <c:pt idx="30">
                  <c:v>68.866583333333296</c:v>
                </c:pt>
                <c:pt idx="31">
                  <c:v>50.487499999999997</c:v>
                </c:pt>
                <c:pt idx="32">
                  <c:v>47.181833333333302</c:v>
                </c:pt>
                <c:pt idx="33">
                  <c:v>43.937833333333302</c:v>
                </c:pt>
                <c:pt idx="34">
                  <c:v>50.634124999999997</c:v>
                </c:pt>
                <c:pt idx="35">
                  <c:v>50.1071666666666</c:v>
                </c:pt>
                <c:pt idx="36">
                  <c:v>43.767999999999901</c:v>
                </c:pt>
                <c:pt idx="37">
                  <c:v>72.031833333333296</c:v>
                </c:pt>
                <c:pt idx="38">
                  <c:v>44.526333333333298</c:v>
                </c:pt>
                <c:pt idx="39">
                  <c:v>65.881833333333304</c:v>
                </c:pt>
                <c:pt idx="40">
                  <c:v>47.251666666666601</c:v>
                </c:pt>
                <c:pt idx="41">
                  <c:v>63.338166666666602</c:v>
                </c:pt>
                <c:pt idx="42">
                  <c:v>49.39425</c:v>
                </c:pt>
                <c:pt idx="43">
                  <c:v>77.915249999999901</c:v>
                </c:pt>
                <c:pt idx="44">
                  <c:v>48.651249999999997</c:v>
                </c:pt>
                <c:pt idx="45">
                  <c:v>59.662916666666597</c:v>
                </c:pt>
                <c:pt idx="46">
                  <c:v>44.107909090908997</c:v>
                </c:pt>
                <c:pt idx="47">
                  <c:v>45.838749999999997</c:v>
                </c:pt>
                <c:pt idx="48">
                  <c:v>51.144583333333301</c:v>
                </c:pt>
                <c:pt idx="49">
                  <c:v>73.990499999999997</c:v>
                </c:pt>
                <c:pt idx="50">
                  <c:v>49.5535833333333</c:v>
                </c:pt>
                <c:pt idx="51">
                  <c:v>69.318416666666593</c:v>
                </c:pt>
                <c:pt idx="52">
                  <c:v>59.5356666666666</c:v>
                </c:pt>
                <c:pt idx="53">
                  <c:v>87.515000000000001</c:v>
                </c:pt>
                <c:pt idx="54">
                  <c:v>47.820250000000001</c:v>
                </c:pt>
                <c:pt idx="55">
                  <c:v>70.217833333333303</c:v>
                </c:pt>
                <c:pt idx="56">
                  <c:v>63.731333333333303</c:v>
                </c:pt>
                <c:pt idx="57">
                  <c:v>81.990916666666607</c:v>
                </c:pt>
                <c:pt idx="58">
                  <c:v>60.905833333333298</c:v>
                </c:pt>
                <c:pt idx="59">
                  <c:v>73.409333333333294</c:v>
                </c:pt>
                <c:pt idx="60">
                  <c:v>48.490666666666598</c:v>
                </c:pt>
                <c:pt idx="61">
                  <c:v>92.988999999999905</c:v>
                </c:pt>
                <c:pt idx="62">
                  <c:v>56.500749999999996</c:v>
                </c:pt>
                <c:pt idx="63">
                  <c:v>66.637916666666598</c:v>
                </c:pt>
                <c:pt idx="64">
                  <c:v>41.845666666666602</c:v>
                </c:pt>
                <c:pt idx="65">
                  <c:v>86.525333333333293</c:v>
                </c:pt>
                <c:pt idx="66">
                  <c:v>58.5831666666666</c:v>
                </c:pt>
                <c:pt idx="67">
                  <c:v>60.772916666666603</c:v>
                </c:pt>
                <c:pt idx="68">
                  <c:v>42.946428571428498</c:v>
                </c:pt>
                <c:pt idx="69">
                  <c:v>55.469166666666602</c:v>
                </c:pt>
                <c:pt idx="70">
                  <c:v>48.9171428571428</c:v>
                </c:pt>
                <c:pt idx="71">
                  <c:v>45.340416666666599</c:v>
                </c:pt>
                <c:pt idx="72">
                  <c:v>39.444583333333298</c:v>
                </c:pt>
                <c:pt idx="73">
                  <c:v>43.482500000000002</c:v>
                </c:pt>
                <c:pt idx="74">
                  <c:v>42.508749999999999</c:v>
                </c:pt>
                <c:pt idx="75">
                  <c:v>53.663749999999901</c:v>
                </c:pt>
                <c:pt idx="76">
                  <c:v>66.761250000000004</c:v>
                </c:pt>
                <c:pt idx="77">
                  <c:v>61.345416666666601</c:v>
                </c:pt>
                <c:pt idx="78">
                  <c:v>67.138750000000002</c:v>
                </c:pt>
                <c:pt idx="79">
                  <c:v>76.004583333333301</c:v>
                </c:pt>
                <c:pt idx="80">
                  <c:v>43.415833333333303</c:v>
                </c:pt>
                <c:pt idx="81">
                  <c:v>49.037500000000001</c:v>
                </c:pt>
                <c:pt idx="82">
                  <c:v>37.9716666666666</c:v>
                </c:pt>
                <c:pt idx="83">
                  <c:v>50.853749999999998</c:v>
                </c:pt>
                <c:pt idx="84">
                  <c:v>45.630416666666598</c:v>
                </c:pt>
                <c:pt idx="85">
                  <c:v>44.034999999999997</c:v>
                </c:pt>
                <c:pt idx="86">
                  <c:v>174.000916666666</c:v>
                </c:pt>
                <c:pt idx="87">
                  <c:v>187.01124999999999</c:v>
                </c:pt>
                <c:pt idx="88">
                  <c:v>62.771833333333298</c:v>
                </c:pt>
                <c:pt idx="89">
                  <c:v>63.741250000000001</c:v>
                </c:pt>
                <c:pt idx="90">
                  <c:v>53.0446666666666</c:v>
                </c:pt>
                <c:pt idx="91">
                  <c:v>68.599166666666605</c:v>
                </c:pt>
                <c:pt idx="92">
                  <c:v>49.878666666666597</c:v>
                </c:pt>
                <c:pt idx="93">
                  <c:v>83.341833333333298</c:v>
                </c:pt>
                <c:pt idx="94">
                  <c:v>48.240416666666597</c:v>
                </c:pt>
                <c:pt idx="95">
                  <c:v>40.656666666666602</c:v>
                </c:pt>
                <c:pt idx="96">
                  <c:v>34.2363</c:v>
                </c:pt>
                <c:pt idx="97">
                  <c:v>41.783000000000001</c:v>
                </c:pt>
                <c:pt idx="98">
                  <c:v>38.522624999999998</c:v>
                </c:pt>
                <c:pt idx="99">
                  <c:v>66.541749999999993</c:v>
                </c:pt>
                <c:pt idx="100">
                  <c:v>46.525416666666601</c:v>
                </c:pt>
                <c:pt idx="101">
                  <c:v>153.26474999999999</c:v>
                </c:pt>
                <c:pt idx="102">
                  <c:v>58.492249999999899</c:v>
                </c:pt>
                <c:pt idx="103">
                  <c:v>102.680583333333</c:v>
                </c:pt>
                <c:pt idx="104">
                  <c:v>60.428666666666601</c:v>
                </c:pt>
                <c:pt idx="105">
                  <c:v>44.075749999999999</c:v>
                </c:pt>
                <c:pt idx="106">
                  <c:v>41.518250000000002</c:v>
                </c:pt>
                <c:pt idx="107">
                  <c:v>53.703000000000003</c:v>
                </c:pt>
                <c:pt idx="108">
                  <c:v>48.485166666666601</c:v>
                </c:pt>
                <c:pt idx="109">
                  <c:v>51.238500000000002</c:v>
                </c:pt>
                <c:pt idx="110">
                  <c:v>45.216000000000001</c:v>
                </c:pt>
                <c:pt idx="111">
                  <c:v>80.2231666666666</c:v>
                </c:pt>
                <c:pt idx="112">
                  <c:v>59.268833333333298</c:v>
                </c:pt>
                <c:pt idx="113">
                  <c:v>122.02416666666601</c:v>
                </c:pt>
                <c:pt idx="114">
                  <c:v>52.375166666666601</c:v>
                </c:pt>
                <c:pt idx="115">
                  <c:v>86.003166666666601</c:v>
                </c:pt>
                <c:pt idx="116">
                  <c:v>46.148416666666598</c:v>
                </c:pt>
                <c:pt idx="117">
                  <c:v>80.905249999999995</c:v>
                </c:pt>
                <c:pt idx="118">
                  <c:v>69.394666666666595</c:v>
                </c:pt>
                <c:pt idx="119">
                  <c:v>52.200499999999998</c:v>
                </c:pt>
                <c:pt idx="120">
                  <c:v>51.469666666666598</c:v>
                </c:pt>
                <c:pt idx="121">
                  <c:v>80.457083333333301</c:v>
                </c:pt>
                <c:pt idx="122">
                  <c:v>63.776000000000003</c:v>
                </c:pt>
                <c:pt idx="123">
                  <c:v>79.9641666666666</c:v>
                </c:pt>
                <c:pt idx="124">
                  <c:v>48.149166666666602</c:v>
                </c:pt>
                <c:pt idx="125">
                  <c:v>72.476249999999993</c:v>
                </c:pt>
                <c:pt idx="126">
                  <c:v>50.1383333333333</c:v>
                </c:pt>
                <c:pt idx="127">
                  <c:v>43.467083333333299</c:v>
                </c:pt>
                <c:pt idx="128">
                  <c:v>35.828333333333298</c:v>
                </c:pt>
                <c:pt idx="129">
                  <c:v>44.240833333333299</c:v>
                </c:pt>
                <c:pt idx="130">
                  <c:v>48.47625</c:v>
                </c:pt>
                <c:pt idx="131">
                  <c:v>64.392083333333304</c:v>
                </c:pt>
                <c:pt idx="132">
                  <c:v>57.506666666666597</c:v>
                </c:pt>
                <c:pt idx="133">
                  <c:v>60.60125</c:v>
                </c:pt>
                <c:pt idx="134">
                  <c:v>59.695416666666603</c:v>
                </c:pt>
                <c:pt idx="135">
                  <c:v>63.4149999999999</c:v>
                </c:pt>
                <c:pt idx="136">
                  <c:v>40.586428571428499</c:v>
                </c:pt>
                <c:pt idx="137">
                  <c:v>51.212499999999999</c:v>
                </c:pt>
                <c:pt idx="138">
                  <c:v>32.070454545454503</c:v>
                </c:pt>
                <c:pt idx="139">
                  <c:v>57.2349999999999</c:v>
                </c:pt>
                <c:pt idx="140">
                  <c:v>40.739999999999903</c:v>
                </c:pt>
                <c:pt idx="141">
                  <c:v>46.875833333333297</c:v>
                </c:pt>
                <c:pt idx="142">
                  <c:v>35.6323636363636</c:v>
                </c:pt>
                <c:pt idx="143">
                  <c:v>49.200416666666598</c:v>
                </c:pt>
                <c:pt idx="144">
                  <c:v>50.580750000000002</c:v>
                </c:pt>
                <c:pt idx="145">
                  <c:v>47.971090909090897</c:v>
                </c:pt>
                <c:pt idx="146">
                  <c:v>56.944499999999998</c:v>
                </c:pt>
                <c:pt idx="147">
                  <c:v>55.517916666666601</c:v>
                </c:pt>
                <c:pt idx="148">
                  <c:v>42.779142857142801</c:v>
                </c:pt>
                <c:pt idx="149">
                  <c:v>50.096333333333298</c:v>
                </c:pt>
                <c:pt idx="150">
                  <c:v>56.752999999999901</c:v>
                </c:pt>
                <c:pt idx="151">
                  <c:v>62.233666666666601</c:v>
                </c:pt>
                <c:pt idx="152">
                  <c:v>58.376583333333301</c:v>
                </c:pt>
                <c:pt idx="153">
                  <c:v>76.446166666666599</c:v>
                </c:pt>
                <c:pt idx="154">
                  <c:v>59.417250000000003</c:v>
                </c:pt>
                <c:pt idx="155">
                  <c:v>77.689083333333301</c:v>
                </c:pt>
                <c:pt idx="156">
                  <c:v>60.7068333333333</c:v>
                </c:pt>
                <c:pt idx="157">
                  <c:v>54.075499999999998</c:v>
                </c:pt>
                <c:pt idx="158">
                  <c:v>58.074090909090899</c:v>
                </c:pt>
                <c:pt idx="159">
                  <c:v>58.947666666666599</c:v>
                </c:pt>
                <c:pt idx="160">
                  <c:v>50.550444444444402</c:v>
                </c:pt>
                <c:pt idx="161">
                  <c:v>54.709249999999997</c:v>
                </c:pt>
                <c:pt idx="162">
                  <c:v>44.055250000000001</c:v>
                </c:pt>
                <c:pt idx="163">
                  <c:v>52.375399999999999</c:v>
                </c:pt>
                <c:pt idx="164">
                  <c:v>56.051000000000002</c:v>
                </c:pt>
                <c:pt idx="165">
                  <c:v>49.247363636363602</c:v>
                </c:pt>
                <c:pt idx="166">
                  <c:v>51.720125000000003</c:v>
                </c:pt>
                <c:pt idx="167">
                  <c:v>58.361166666666598</c:v>
                </c:pt>
                <c:pt idx="168">
                  <c:v>39.493714285714198</c:v>
                </c:pt>
                <c:pt idx="169">
                  <c:v>49.298749999999998</c:v>
                </c:pt>
                <c:pt idx="170">
                  <c:v>56.920916666666599</c:v>
                </c:pt>
                <c:pt idx="171">
                  <c:v>47.455500000000001</c:v>
                </c:pt>
                <c:pt idx="172">
                  <c:v>35.969888888888804</c:v>
                </c:pt>
                <c:pt idx="173">
                  <c:v>42.944777777777702</c:v>
                </c:pt>
                <c:pt idx="174">
                  <c:v>36.922249999999998</c:v>
                </c:pt>
                <c:pt idx="175">
                  <c:v>36.546333333333301</c:v>
                </c:pt>
                <c:pt idx="176">
                  <c:v>37.124400000000001</c:v>
                </c:pt>
                <c:pt idx="177">
                  <c:v>42.941666666666599</c:v>
                </c:pt>
                <c:pt idx="178">
                  <c:v>31.945999999999898</c:v>
                </c:pt>
                <c:pt idx="179">
                  <c:v>50.933333333333302</c:v>
                </c:pt>
                <c:pt idx="180">
                  <c:v>53.714300000000001</c:v>
                </c:pt>
                <c:pt idx="181">
                  <c:v>50.493333333333297</c:v>
                </c:pt>
                <c:pt idx="182">
                  <c:v>63.067083333333301</c:v>
                </c:pt>
                <c:pt idx="183">
                  <c:v>78.320583333333303</c:v>
                </c:pt>
                <c:pt idx="184">
                  <c:v>62.180583333333303</c:v>
                </c:pt>
                <c:pt idx="185">
                  <c:v>60.060250000000003</c:v>
                </c:pt>
                <c:pt idx="186">
                  <c:v>45.017499999999998</c:v>
                </c:pt>
                <c:pt idx="187">
                  <c:v>79.766666666666595</c:v>
                </c:pt>
                <c:pt idx="188">
                  <c:v>40.561666666666603</c:v>
                </c:pt>
                <c:pt idx="189">
                  <c:v>47.821818181818102</c:v>
                </c:pt>
                <c:pt idx="190">
                  <c:v>43.174583333333302</c:v>
                </c:pt>
                <c:pt idx="191">
                  <c:v>54.176666666666598</c:v>
                </c:pt>
                <c:pt idx="192">
                  <c:v>49.405416666666603</c:v>
                </c:pt>
                <c:pt idx="193">
                  <c:v>73.729583333333295</c:v>
                </c:pt>
                <c:pt idx="194">
                  <c:v>44.014999999999901</c:v>
                </c:pt>
                <c:pt idx="195">
                  <c:v>51.409583333333302</c:v>
                </c:pt>
                <c:pt idx="196">
                  <c:v>47.154583333333299</c:v>
                </c:pt>
                <c:pt idx="197">
                  <c:v>65.525416666666601</c:v>
                </c:pt>
                <c:pt idx="198">
                  <c:v>61.518333333333302</c:v>
                </c:pt>
                <c:pt idx="199">
                  <c:v>79.883750000000006</c:v>
                </c:pt>
                <c:pt idx="200">
                  <c:v>53.233749999999901</c:v>
                </c:pt>
                <c:pt idx="201">
                  <c:v>88.894999999999996</c:v>
                </c:pt>
                <c:pt idx="202">
                  <c:v>28.648499999999999</c:v>
                </c:pt>
                <c:pt idx="203">
                  <c:v>44.792916666666599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03</c:v>
                </c:pt>
                <c:pt idx="207">
                  <c:v>53.55</c:v>
                </c:pt>
                <c:pt idx="208">
                  <c:v>52.564166666666601</c:v>
                </c:pt>
                <c:pt idx="209">
                  <c:v>56.3049999999999</c:v>
                </c:pt>
                <c:pt idx="210">
                  <c:v>50.992916666666602</c:v>
                </c:pt>
                <c:pt idx="211">
                  <c:v>54.992916666666602</c:v>
                </c:pt>
                <c:pt idx="212">
                  <c:v>50.9091666666666</c:v>
                </c:pt>
                <c:pt idx="213">
                  <c:v>50.233333333333299</c:v>
                </c:pt>
                <c:pt idx="214">
                  <c:v>45.06</c:v>
                </c:pt>
                <c:pt idx="215">
                  <c:v>48.699583333333301</c:v>
                </c:pt>
                <c:pt idx="216">
                  <c:v>48.758333333333297</c:v>
                </c:pt>
                <c:pt idx="217">
                  <c:v>48.168333333333301</c:v>
                </c:pt>
                <c:pt idx="218">
                  <c:v>50.261666666666599</c:v>
                </c:pt>
                <c:pt idx="219">
                  <c:v>47.798333333333296</c:v>
                </c:pt>
                <c:pt idx="220">
                  <c:v>49.244166666666601</c:v>
                </c:pt>
                <c:pt idx="221">
                  <c:v>50.734583333333298</c:v>
                </c:pt>
                <c:pt idx="222">
                  <c:v>53.69</c:v>
                </c:pt>
                <c:pt idx="223">
                  <c:v>53.271666666666597</c:v>
                </c:pt>
                <c:pt idx="224">
                  <c:v>49.4508333333333</c:v>
                </c:pt>
                <c:pt idx="225">
                  <c:v>52.059166666666599</c:v>
                </c:pt>
                <c:pt idx="226">
                  <c:v>37.89</c:v>
                </c:pt>
                <c:pt idx="227">
                  <c:v>45.816666666666599</c:v>
                </c:pt>
                <c:pt idx="228">
                  <c:v>36.757083333333298</c:v>
                </c:pt>
                <c:pt idx="229">
                  <c:v>44.214583333333302</c:v>
                </c:pt>
                <c:pt idx="230">
                  <c:v>49.384583333333303</c:v>
                </c:pt>
                <c:pt idx="231">
                  <c:v>48.080416666666601</c:v>
                </c:pt>
                <c:pt idx="232">
                  <c:v>52.469583333333297</c:v>
                </c:pt>
                <c:pt idx="233">
                  <c:v>53.402916666666599</c:v>
                </c:pt>
                <c:pt idx="234">
                  <c:v>39.446249999999999</c:v>
                </c:pt>
                <c:pt idx="235">
                  <c:v>47.963333333333303</c:v>
                </c:pt>
                <c:pt idx="236">
                  <c:v>42.502222222222201</c:v>
                </c:pt>
                <c:pt idx="237">
                  <c:v>44.941666666666599</c:v>
                </c:pt>
                <c:pt idx="238">
                  <c:v>45.204285714285703</c:v>
                </c:pt>
                <c:pt idx="239">
                  <c:v>48.322083333333303</c:v>
                </c:pt>
                <c:pt idx="240">
                  <c:v>44.181666666666601</c:v>
                </c:pt>
                <c:pt idx="241">
                  <c:v>79.288727272727201</c:v>
                </c:pt>
                <c:pt idx="242">
                  <c:v>51.941249999999997</c:v>
                </c:pt>
                <c:pt idx="243">
                  <c:v>49.0996666666666</c:v>
                </c:pt>
                <c:pt idx="244">
                  <c:v>66.743333333333297</c:v>
                </c:pt>
                <c:pt idx="245">
                  <c:v>59.953249999999997</c:v>
                </c:pt>
                <c:pt idx="246">
                  <c:v>48.052500000000002</c:v>
                </c:pt>
                <c:pt idx="247">
                  <c:v>43.413333333333298</c:v>
                </c:pt>
                <c:pt idx="248">
                  <c:v>41.137499999999903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01</c:v>
                </c:pt>
                <c:pt idx="252">
                  <c:v>70.624166666666596</c:v>
                </c:pt>
                <c:pt idx="253">
                  <c:v>75.650833333333296</c:v>
                </c:pt>
                <c:pt idx="254">
                  <c:v>48.5474999999999</c:v>
                </c:pt>
                <c:pt idx="255">
                  <c:v>45.350833333333298</c:v>
                </c:pt>
                <c:pt idx="256">
                  <c:v>47.290833333333303</c:v>
                </c:pt>
                <c:pt idx="257">
                  <c:v>60.935416666666598</c:v>
                </c:pt>
                <c:pt idx="258">
                  <c:v>60.887916666666598</c:v>
                </c:pt>
                <c:pt idx="259">
                  <c:v>73.694583333333298</c:v>
                </c:pt>
                <c:pt idx="260">
                  <c:v>57.995833333333302</c:v>
                </c:pt>
                <c:pt idx="261">
                  <c:v>49.681249999999999</c:v>
                </c:pt>
                <c:pt idx="262">
                  <c:v>28.802777777777699</c:v>
                </c:pt>
                <c:pt idx="263">
                  <c:v>57.887916666666598</c:v>
                </c:pt>
                <c:pt idx="264">
                  <c:v>34.658124999999998</c:v>
                </c:pt>
                <c:pt idx="265">
                  <c:v>42.6458333333333</c:v>
                </c:pt>
                <c:pt idx="266">
                  <c:v>38.750833333333297</c:v>
                </c:pt>
                <c:pt idx="267">
                  <c:v>44.832083333333301</c:v>
                </c:pt>
                <c:pt idx="268">
                  <c:v>37.403888888888801</c:v>
                </c:pt>
                <c:pt idx="269">
                  <c:v>46.276249999999997</c:v>
                </c:pt>
                <c:pt idx="270">
                  <c:v>37.748750000000001</c:v>
                </c:pt>
                <c:pt idx="271">
                  <c:v>46.262083333333301</c:v>
                </c:pt>
                <c:pt idx="272">
                  <c:v>39.879090909090898</c:v>
                </c:pt>
                <c:pt idx="273">
                  <c:v>47.372916666666598</c:v>
                </c:pt>
                <c:pt idx="274">
                  <c:v>40.558181818181801</c:v>
                </c:pt>
                <c:pt idx="275">
                  <c:v>53.550416666666599</c:v>
                </c:pt>
                <c:pt idx="276">
                  <c:v>47.153750000000002</c:v>
                </c:pt>
                <c:pt idx="277">
                  <c:v>54.608333333333299</c:v>
                </c:pt>
                <c:pt idx="278">
                  <c:v>50.127083333333303</c:v>
                </c:pt>
                <c:pt idx="279">
                  <c:v>49.530833333333298</c:v>
                </c:pt>
                <c:pt idx="280">
                  <c:v>38.462499999999999</c:v>
                </c:pt>
                <c:pt idx="281">
                  <c:v>47.275416666666601</c:v>
                </c:pt>
                <c:pt idx="282">
                  <c:v>45.832500000000003</c:v>
                </c:pt>
                <c:pt idx="283">
                  <c:v>50.742916666666602</c:v>
                </c:pt>
                <c:pt idx="284">
                  <c:v>46.262499999999903</c:v>
                </c:pt>
                <c:pt idx="285">
                  <c:v>49.195</c:v>
                </c:pt>
                <c:pt idx="286">
                  <c:v>37.257083333333298</c:v>
                </c:pt>
                <c:pt idx="287">
                  <c:v>43.033333333333303</c:v>
                </c:pt>
                <c:pt idx="288">
                  <c:v>39.896428571428501</c:v>
                </c:pt>
                <c:pt idx="289">
                  <c:v>53.087499999999999</c:v>
                </c:pt>
                <c:pt idx="290">
                  <c:v>44.002499999999998</c:v>
                </c:pt>
                <c:pt idx="291">
                  <c:v>50.586666666666602</c:v>
                </c:pt>
                <c:pt idx="292">
                  <c:v>46.027083333333302</c:v>
                </c:pt>
                <c:pt idx="293">
                  <c:v>51.392916666666601</c:v>
                </c:pt>
                <c:pt idx="294">
                  <c:v>46.5908333333333</c:v>
                </c:pt>
                <c:pt idx="295">
                  <c:v>54.303750000000001</c:v>
                </c:pt>
                <c:pt idx="296">
                  <c:v>45.068750000000001</c:v>
                </c:pt>
                <c:pt idx="297">
                  <c:v>42.706249999999997</c:v>
                </c:pt>
                <c:pt idx="298">
                  <c:v>35.205555555555499</c:v>
                </c:pt>
                <c:pt idx="299">
                  <c:v>49.220833333333303</c:v>
                </c:pt>
                <c:pt idx="300">
                  <c:v>42.534374999999997</c:v>
                </c:pt>
                <c:pt idx="301">
                  <c:v>49.414090909090902</c:v>
                </c:pt>
                <c:pt idx="302">
                  <c:v>53.580699999999901</c:v>
                </c:pt>
                <c:pt idx="303">
                  <c:v>84.922083333333305</c:v>
                </c:pt>
                <c:pt idx="304">
                  <c:v>39.346999999999902</c:v>
                </c:pt>
                <c:pt idx="305">
                  <c:v>43.315916666666602</c:v>
                </c:pt>
                <c:pt idx="306">
                  <c:v>47.9022222222222</c:v>
                </c:pt>
                <c:pt idx="307">
                  <c:v>54.980166666666598</c:v>
                </c:pt>
                <c:pt idx="308">
                  <c:v>35.089999999999897</c:v>
                </c:pt>
                <c:pt idx="309">
                  <c:v>41.228333333333303</c:v>
                </c:pt>
                <c:pt idx="310">
                  <c:v>48.412916666666597</c:v>
                </c:pt>
                <c:pt idx="311">
                  <c:v>49.219999999999899</c:v>
                </c:pt>
                <c:pt idx="312">
                  <c:v>51.047083333333298</c:v>
                </c:pt>
                <c:pt idx="313">
                  <c:v>53.327916666666603</c:v>
                </c:pt>
                <c:pt idx="314">
                  <c:v>46.842500000000001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297</c:v>
                </c:pt>
                <c:pt idx="318">
                  <c:v>40.827083333333299</c:v>
                </c:pt>
                <c:pt idx="319">
                  <c:v>51.916249999999998</c:v>
                </c:pt>
                <c:pt idx="320">
                  <c:v>58.307499999999997</c:v>
                </c:pt>
                <c:pt idx="321">
                  <c:v>79.133749999999907</c:v>
                </c:pt>
                <c:pt idx="322">
                  <c:v>52.497499999999903</c:v>
                </c:pt>
                <c:pt idx="323">
                  <c:v>47.962916666666601</c:v>
                </c:pt>
                <c:pt idx="324">
                  <c:v>62.5412499999998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02</c:v>
                </c:pt>
                <c:pt idx="328">
                  <c:v>41.010833333333302</c:v>
                </c:pt>
                <c:pt idx="329">
                  <c:v>48.966249999999903</c:v>
                </c:pt>
                <c:pt idx="330">
                  <c:v>46.856666666666598</c:v>
                </c:pt>
                <c:pt idx="331">
                  <c:v>60.067499999999903</c:v>
                </c:pt>
                <c:pt idx="332">
                  <c:v>46.485833333333296</c:v>
                </c:pt>
                <c:pt idx="333">
                  <c:v>63.379999999999903</c:v>
                </c:pt>
                <c:pt idx="334">
                  <c:v>56.775833333333303</c:v>
                </c:pt>
                <c:pt idx="335">
                  <c:v>71.761666666666599</c:v>
                </c:pt>
                <c:pt idx="336">
                  <c:v>57.215416666666599</c:v>
                </c:pt>
                <c:pt idx="337">
                  <c:v>72.071666666666601</c:v>
                </c:pt>
                <c:pt idx="338">
                  <c:v>55.789166666666603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000000000002</c:v>
                </c:pt>
                <c:pt idx="342">
                  <c:v>38.531111111111102</c:v>
                </c:pt>
                <c:pt idx="343">
                  <c:v>51.300416666666599</c:v>
                </c:pt>
                <c:pt idx="344">
                  <c:v>35.748125000000002</c:v>
                </c:pt>
                <c:pt idx="345">
                  <c:v>43.7841666666666</c:v>
                </c:pt>
                <c:pt idx="346">
                  <c:v>32.951000000000001</c:v>
                </c:pt>
                <c:pt idx="347">
                  <c:v>45.659583333333302</c:v>
                </c:pt>
                <c:pt idx="348">
                  <c:v>42.175909090909002</c:v>
                </c:pt>
                <c:pt idx="349">
                  <c:v>45.818750000000001</c:v>
                </c:pt>
                <c:pt idx="350">
                  <c:v>45.181249999999999</c:v>
                </c:pt>
                <c:pt idx="351">
                  <c:v>59.650833333333303</c:v>
                </c:pt>
                <c:pt idx="352">
                  <c:v>53.089999999999897</c:v>
                </c:pt>
                <c:pt idx="353">
                  <c:v>59.624166666666603</c:v>
                </c:pt>
                <c:pt idx="354">
                  <c:v>52.540833333333303</c:v>
                </c:pt>
                <c:pt idx="355">
                  <c:v>52.706666666666599</c:v>
                </c:pt>
                <c:pt idx="356">
                  <c:v>50.466250000000002</c:v>
                </c:pt>
                <c:pt idx="357">
                  <c:v>57.71333333333330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4999999997</c:v>
                </c:pt>
                <c:pt idx="361">
                  <c:v>54.031249999999901</c:v>
                </c:pt>
                <c:pt idx="362">
                  <c:v>80.355500000000006</c:v>
                </c:pt>
                <c:pt idx="363">
                  <c:v>197.62691666666601</c:v>
                </c:pt>
                <c:pt idx="364">
                  <c:v>38.401499999999999</c:v>
                </c:pt>
                <c:pt idx="365">
                  <c:v>43.864916666666602</c:v>
                </c:pt>
                <c:pt idx="366">
                  <c:v>44.829500000000003</c:v>
                </c:pt>
                <c:pt idx="367">
                  <c:v>61.380749999999999</c:v>
                </c:pt>
                <c:pt idx="368">
                  <c:v>26.107499999999899</c:v>
                </c:pt>
                <c:pt idx="369">
                  <c:v>45.783333333333303</c:v>
                </c:pt>
                <c:pt idx="370">
                  <c:v>51.353749999999998</c:v>
                </c:pt>
                <c:pt idx="371">
                  <c:v>42.387</c:v>
                </c:pt>
                <c:pt idx="372">
                  <c:v>52.655000000000001</c:v>
                </c:pt>
                <c:pt idx="373">
                  <c:v>53.036666666666598</c:v>
                </c:pt>
                <c:pt idx="374">
                  <c:v>36.664583333333297</c:v>
                </c:pt>
                <c:pt idx="375">
                  <c:v>70.017499999999998</c:v>
                </c:pt>
                <c:pt idx="376">
                  <c:v>45.737083333333302</c:v>
                </c:pt>
                <c:pt idx="377">
                  <c:v>47.952916666666603</c:v>
                </c:pt>
                <c:pt idx="378">
                  <c:v>48.643333333333302</c:v>
                </c:pt>
                <c:pt idx="379">
                  <c:v>53.9433333333333</c:v>
                </c:pt>
                <c:pt idx="380">
                  <c:v>78.154166666666598</c:v>
                </c:pt>
                <c:pt idx="381">
                  <c:v>72.477916666666601</c:v>
                </c:pt>
                <c:pt idx="382">
                  <c:v>43.243333333333297</c:v>
                </c:pt>
                <c:pt idx="383">
                  <c:v>67.462083333333297</c:v>
                </c:pt>
                <c:pt idx="384">
                  <c:v>50.933333333333302</c:v>
                </c:pt>
                <c:pt idx="385">
                  <c:v>50.860833333333296</c:v>
                </c:pt>
                <c:pt idx="386">
                  <c:v>46.814583333333303</c:v>
                </c:pt>
                <c:pt idx="387">
                  <c:v>65.967083333333306</c:v>
                </c:pt>
                <c:pt idx="388">
                  <c:v>52.462499999999999</c:v>
                </c:pt>
                <c:pt idx="389">
                  <c:v>67.153750000000002</c:v>
                </c:pt>
                <c:pt idx="390">
                  <c:v>57.936250000000001</c:v>
                </c:pt>
                <c:pt idx="391">
                  <c:v>59.931666666666601</c:v>
                </c:pt>
                <c:pt idx="392">
                  <c:v>60.722499999999997</c:v>
                </c:pt>
                <c:pt idx="393">
                  <c:v>59.856250000000003</c:v>
                </c:pt>
                <c:pt idx="394">
                  <c:v>51.819999999999901</c:v>
                </c:pt>
                <c:pt idx="395">
                  <c:v>76.141666666666595</c:v>
                </c:pt>
                <c:pt idx="396">
                  <c:v>66.974999999999994</c:v>
                </c:pt>
                <c:pt idx="397">
                  <c:v>82.171666666666596</c:v>
                </c:pt>
                <c:pt idx="398">
                  <c:v>50.0162499999999</c:v>
                </c:pt>
                <c:pt idx="399">
                  <c:v>64.713333333333296</c:v>
                </c:pt>
                <c:pt idx="400">
                  <c:v>44.022500000000001</c:v>
                </c:pt>
                <c:pt idx="401">
                  <c:v>54.5445833333333</c:v>
                </c:pt>
                <c:pt idx="402">
                  <c:v>44.419166666666598</c:v>
                </c:pt>
                <c:pt idx="403">
                  <c:v>74.711666666666602</c:v>
                </c:pt>
                <c:pt idx="404">
                  <c:v>43.5283333333333</c:v>
                </c:pt>
                <c:pt idx="405">
                  <c:v>58.199583333333301</c:v>
                </c:pt>
                <c:pt idx="406">
                  <c:v>38.403888888888801</c:v>
                </c:pt>
                <c:pt idx="407">
                  <c:v>48.528750000000002</c:v>
                </c:pt>
                <c:pt idx="408">
                  <c:v>45.454583333333296</c:v>
                </c:pt>
                <c:pt idx="409">
                  <c:v>65.091249999999903</c:v>
                </c:pt>
                <c:pt idx="410">
                  <c:v>53.253749999999997</c:v>
                </c:pt>
                <c:pt idx="411">
                  <c:v>62.634999999999899</c:v>
                </c:pt>
                <c:pt idx="412">
                  <c:v>43.797916666666602</c:v>
                </c:pt>
                <c:pt idx="413">
                  <c:v>74.790416666666601</c:v>
                </c:pt>
                <c:pt idx="414">
                  <c:v>54.195</c:v>
                </c:pt>
                <c:pt idx="415">
                  <c:v>81.428749999999994</c:v>
                </c:pt>
                <c:pt idx="416">
                  <c:v>61.591666666666598</c:v>
                </c:pt>
                <c:pt idx="417">
                  <c:v>84.004999999999995</c:v>
                </c:pt>
                <c:pt idx="418">
                  <c:v>73.071250000000006</c:v>
                </c:pt>
                <c:pt idx="419">
                  <c:v>89.251666666666594</c:v>
                </c:pt>
                <c:pt idx="420">
                  <c:v>70.024583333333297</c:v>
                </c:pt>
                <c:pt idx="421">
                  <c:v>72.64</c:v>
                </c:pt>
                <c:pt idx="422">
                  <c:v>63.719166666666602</c:v>
                </c:pt>
                <c:pt idx="423">
                  <c:v>76.680416666666602</c:v>
                </c:pt>
                <c:pt idx="424">
                  <c:v>97.3719999999999</c:v>
                </c:pt>
                <c:pt idx="425">
                  <c:v>87.475083333333302</c:v>
                </c:pt>
                <c:pt idx="426">
                  <c:v>42.447888888888798</c:v>
                </c:pt>
                <c:pt idx="427">
                  <c:v>54.379166666666599</c:v>
                </c:pt>
                <c:pt idx="428">
                  <c:v>47.226333333333301</c:v>
                </c:pt>
                <c:pt idx="429">
                  <c:v>65.741166666666601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4999999999997</c:v>
                </c:pt>
                <c:pt idx="433">
                  <c:v>49.103333333333303</c:v>
                </c:pt>
                <c:pt idx="434">
                  <c:v>48.378749999999997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0000000004</c:v>
                </c:pt>
                <c:pt idx="438">
                  <c:v>59.590416666666599</c:v>
                </c:pt>
                <c:pt idx="439">
                  <c:v>72.096666666666593</c:v>
                </c:pt>
                <c:pt idx="440">
                  <c:v>47.9270833333333</c:v>
                </c:pt>
                <c:pt idx="441">
                  <c:v>57.243333333333297</c:v>
                </c:pt>
                <c:pt idx="442">
                  <c:v>63.758333333333297</c:v>
                </c:pt>
                <c:pt idx="443">
                  <c:v>69.530833333333305</c:v>
                </c:pt>
                <c:pt idx="444">
                  <c:v>55.008749999999999</c:v>
                </c:pt>
                <c:pt idx="445">
                  <c:v>67.959583333333299</c:v>
                </c:pt>
                <c:pt idx="446">
                  <c:v>58.454999999999899</c:v>
                </c:pt>
                <c:pt idx="447">
                  <c:v>59.5133333333333</c:v>
                </c:pt>
                <c:pt idx="448">
                  <c:v>62.106250000000003</c:v>
                </c:pt>
                <c:pt idx="449">
                  <c:v>75.083749999999995</c:v>
                </c:pt>
                <c:pt idx="450">
                  <c:v>72.067499999999995</c:v>
                </c:pt>
                <c:pt idx="451">
                  <c:v>69.167083333333295</c:v>
                </c:pt>
                <c:pt idx="452">
                  <c:v>47.772083333333299</c:v>
                </c:pt>
                <c:pt idx="453">
                  <c:v>57.986249999999899</c:v>
                </c:pt>
                <c:pt idx="454">
                  <c:v>53.971249999999998</c:v>
                </c:pt>
                <c:pt idx="455">
                  <c:v>66.100833333333298</c:v>
                </c:pt>
                <c:pt idx="456">
                  <c:v>48.206249999999997</c:v>
                </c:pt>
                <c:pt idx="457">
                  <c:v>63.657499999999999</c:v>
                </c:pt>
                <c:pt idx="458">
                  <c:v>46.99</c:v>
                </c:pt>
                <c:pt idx="459">
                  <c:v>61.338333333333303</c:v>
                </c:pt>
                <c:pt idx="460">
                  <c:v>40.4195833333333</c:v>
                </c:pt>
                <c:pt idx="461">
                  <c:v>54.921666666666603</c:v>
                </c:pt>
                <c:pt idx="462">
                  <c:v>55.743749999999899</c:v>
                </c:pt>
                <c:pt idx="463">
                  <c:v>64.784166666666593</c:v>
                </c:pt>
                <c:pt idx="464">
                  <c:v>39.407916666666601</c:v>
                </c:pt>
                <c:pt idx="465">
                  <c:v>45.298333333333296</c:v>
                </c:pt>
                <c:pt idx="466">
                  <c:v>42.202727272727202</c:v>
                </c:pt>
                <c:pt idx="467">
                  <c:v>56.2558333333333</c:v>
                </c:pt>
                <c:pt idx="468">
                  <c:v>44.347499999999997</c:v>
                </c:pt>
                <c:pt idx="469">
                  <c:v>60.957083333333301</c:v>
                </c:pt>
                <c:pt idx="470">
                  <c:v>46.731666666666598</c:v>
                </c:pt>
                <c:pt idx="471">
                  <c:v>56.807083333333303</c:v>
                </c:pt>
                <c:pt idx="472">
                  <c:v>41.453333333333298</c:v>
                </c:pt>
                <c:pt idx="473">
                  <c:v>56.362916666666599</c:v>
                </c:pt>
                <c:pt idx="474">
                  <c:v>44.294999999999902</c:v>
                </c:pt>
                <c:pt idx="475">
                  <c:v>56.652083333333302</c:v>
                </c:pt>
                <c:pt idx="476">
                  <c:v>54.389583333333299</c:v>
                </c:pt>
                <c:pt idx="477">
                  <c:v>79.165416666666601</c:v>
                </c:pt>
                <c:pt idx="478">
                  <c:v>54.53875</c:v>
                </c:pt>
                <c:pt idx="479">
                  <c:v>56.990833333333299</c:v>
                </c:pt>
                <c:pt idx="480">
                  <c:v>46.333750000000002</c:v>
                </c:pt>
                <c:pt idx="481">
                  <c:v>59.141666666666602</c:v>
                </c:pt>
                <c:pt idx="482">
                  <c:v>39.871666666666599</c:v>
                </c:pt>
                <c:pt idx="483">
                  <c:v>42.424166666666601</c:v>
                </c:pt>
                <c:pt idx="484">
                  <c:v>31.869166666666601</c:v>
                </c:pt>
                <c:pt idx="485">
                  <c:v>51.942083333333301</c:v>
                </c:pt>
                <c:pt idx="486">
                  <c:v>71.976583333333295</c:v>
                </c:pt>
                <c:pt idx="487">
                  <c:v>55.570500000000003</c:v>
                </c:pt>
                <c:pt idx="488">
                  <c:v>35.178818181818102</c:v>
                </c:pt>
                <c:pt idx="489">
                  <c:v>82.808583333333303</c:v>
                </c:pt>
                <c:pt idx="490">
                  <c:v>44.022727272727202</c:v>
                </c:pt>
                <c:pt idx="491">
                  <c:v>80.227000000000004</c:v>
                </c:pt>
                <c:pt idx="492">
                  <c:v>55.7558333333333</c:v>
                </c:pt>
                <c:pt idx="493">
                  <c:v>62.750833333333297</c:v>
                </c:pt>
                <c:pt idx="494">
                  <c:v>33.043333333333301</c:v>
                </c:pt>
                <c:pt idx="495">
                  <c:v>37.844583333333297</c:v>
                </c:pt>
                <c:pt idx="496">
                  <c:v>47.879999999999903</c:v>
                </c:pt>
                <c:pt idx="497">
                  <c:v>50.42</c:v>
                </c:pt>
                <c:pt idx="498">
                  <c:v>47.507083333333298</c:v>
                </c:pt>
                <c:pt idx="499">
                  <c:v>74.433333333333294</c:v>
                </c:pt>
                <c:pt idx="500">
                  <c:v>72.467083333333306</c:v>
                </c:pt>
                <c:pt idx="501">
                  <c:v>77.196250000000006</c:v>
                </c:pt>
                <c:pt idx="502">
                  <c:v>52.41</c:v>
                </c:pt>
                <c:pt idx="503">
                  <c:v>73.879999999999896</c:v>
                </c:pt>
                <c:pt idx="504">
                  <c:v>62.469166666666602</c:v>
                </c:pt>
                <c:pt idx="505">
                  <c:v>70.363333333333301</c:v>
                </c:pt>
                <c:pt idx="506">
                  <c:v>48.371249999999897</c:v>
                </c:pt>
                <c:pt idx="507">
                  <c:v>88.029583333333306</c:v>
                </c:pt>
                <c:pt idx="508">
                  <c:v>51.335833333333298</c:v>
                </c:pt>
                <c:pt idx="509">
                  <c:v>65.329583333333304</c:v>
                </c:pt>
                <c:pt idx="510">
                  <c:v>53.769999999999897</c:v>
                </c:pt>
                <c:pt idx="511">
                  <c:v>63.956999999999901</c:v>
                </c:pt>
                <c:pt idx="512">
                  <c:v>51.338749999999997</c:v>
                </c:pt>
                <c:pt idx="513">
                  <c:v>54.9345833333333</c:v>
                </c:pt>
                <c:pt idx="514">
                  <c:v>34.522500000000001</c:v>
                </c:pt>
                <c:pt idx="515">
                  <c:v>54.936250000000001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03</c:v>
                </c:pt>
                <c:pt idx="519">
                  <c:v>77.517499999999998</c:v>
                </c:pt>
                <c:pt idx="520">
                  <c:v>49.554583333333298</c:v>
                </c:pt>
                <c:pt idx="521">
                  <c:v>52.442916666666598</c:v>
                </c:pt>
                <c:pt idx="522">
                  <c:v>49.8287499999999</c:v>
                </c:pt>
                <c:pt idx="523">
                  <c:v>67.549583333333302</c:v>
                </c:pt>
                <c:pt idx="524">
                  <c:v>48.207500000000003</c:v>
                </c:pt>
                <c:pt idx="525">
                  <c:v>46.808749999999897</c:v>
                </c:pt>
                <c:pt idx="526">
                  <c:v>45.873750000000001</c:v>
                </c:pt>
                <c:pt idx="527">
                  <c:v>47.7245833333333</c:v>
                </c:pt>
                <c:pt idx="528">
                  <c:v>28.845999999999901</c:v>
                </c:pt>
                <c:pt idx="529">
                  <c:v>60.244583333333303</c:v>
                </c:pt>
                <c:pt idx="530">
                  <c:v>36.316249999999997</c:v>
                </c:pt>
                <c:pt idx="531">
                  <c:v>44.537499999999902</c:v>
                </c:pt>
                <c:pt idx="532">
                  <c:v>34.553333333333299</c:v>
                </c:pt>
                <c:pt idx="533">
                  <c:v>53.402499999999897</c:v>
                </c:pt>
                <c:pt idx="534">
                  <c:v>50.355833333333301</c:v>
                </c:pt>
                <c:pt idx="535">
                  <c:v>59.463749999999997</c:v>
                </c:pt>
                <c:pt idx="536">
                  <c:v>50.248333333333299</c:v>
                </c:pt>
                <c:pt idx="537">
                  <c:v>52.935416666666598</c:v>
                </c:pt>
                <c:pt idx="538">
                  <c:v>61.705833333333302</c:v>
                </c:pt>
                <c:pt idx="539">
                  <c:v>63.655416666666603</c:v>
                </c:pt>
                <c:pt idx="540">
                  <c:v>55.837083333333297</c:v>
                </c:pt>
                <c:pt idx="541">
                  <c:v>51.783333333333303</c:v>
                </c:pt>
                <c:pt idx="542">
                  <c:v>51.994999999999997</c:v>
                </c:pt>
                <c:pt idx="543">
                  <c:v>60.637499999999903</c:v>
                </c:pt>
                <c:pt idx="544">
                  <c:v>44.738750000000003</c:v>
                </c:pt>
                <c:pt idx="545">
                  <c:v>59.0162499999999</c:v>
                </c:pt>
                <c:pt idx="546">
                  <c:v>41.709600000000002</c:v>
                </c:pt>
                <c:pt idx="547">
                  <c:v>56.280833333333298</c:v>
                </c:pt>
                <c:pt idx="548">
                  <c:v>35.242249999999999</c:v>
                </c:pt>
                <c:pt idx="549">
                  <c:v>73.400666666666595</c:v>
                </c:pt>
                <c:pt idx="550">
                  <c:v>64.428083333333305</c:v>
                </c:pt>
                <c:pt idx="551">
                  <c:v>75.952249999999907</c:v>
                </c:pt>
                <c:pt idx="552">
                  <c:v>53.532083333333297</c:v>
                </c:pt>
                <c:pt idx="553">
                  <c:v>70.233333333333306</c:v>
                </c:pt>
                <c:pt idx="554">
                  <c:v>43.792499999999997</c:v>
                </c:pt>
                <c:pt idx="555">
                  <c:v>43.967916666666603</c:v>
                </c:pt>
                <c:pt idx="556">
                  <c:v>51.145000000000003</c:v>
                </c:pt>
                <c:pt idx="557">
                  <c:v>44.225833333333298</c:v>
                </c:pt>
                <c:pt idx="558">
                  <c:v>62.532499999999999</c:v>
                </c:pt>
                <c:pt idx="559">
                  <c:v>83.460833333333298</c:v>
                </c:pt>
                <c:pt idx="560">
                  <c:v>58.622916666666598</c:v>
                </c:pt>
                <c:pt idx="561">
                  <c:v>66.830833333333302</c:v>
                </c:pt>
                <c:pt idx="562">
                  <c:v>53.835833333333298</c:v>
                </c:pt>
                <c:pt idx="563">
                  <c:v>68.947500000000005</c:v>
                </c:pt>
                <c:pt idx="564">
                  <c:v>60.918333333333301</c:v>
                </c:pt>
                <c:pt idx="565">
                  <c:v>65.825000000000003</c:v>
                </c:pt>
                <c:pt idx="566">
                  <c:v>45.246666666666599</c:v>
                </c:pt>
                <c:pt idx="567">
                  <c:v>93.789166666666603</c:v>
                </c:pt>
                <c:pt idx="568">
                  <c:v>45.956666666666599</c:v>
                </c:pt>
                <c:pt idx="569">
                  <c:v>71.999166666666596</c:v>
                </c:pt>
                <c:pt idx="570">
                  <c:v>37.198749999999997</c:v>
                </c:pt>
                <c:pt idx="571">
                  <c:v>52.446666666666601</c:v>
                </c:pt>
                <c:pt idx="572">
                  <c:v>42.499166666666603</c:v>
                </c:pt>
                <c:pt idx="573">
                  <c:v>63.807499999999997</c:v>
                </c:pt>
                <c:pt idx="574">
                  <c:v>54.576666666666597</c:v>
                </c:pt>
                <c:pt idx="575">
                  <c:v>55.982500000000002</c:v>
                </c:pt>
                <c:pt idx="576">
                  <c:v>44.299166666666601</c:v>
                </c:pt>
                <c:pt idx="577">
                  <c:v>59.989166666666598</c:v>
                </c:pt>
                <c:pt idx="578">
                  <c:v>51.032916666666601</c:v>
                </c:pt>
                <c:pt idx="579">
                  <c:v>64.219166666666595</c:v>
                </c:pt>
                <c:pt idx="580">
                  <c:v>71.835833333333298</c:v>
                </c:pt>
                <c:pt idx="581">
                  <c:v>76.037499999999994</c:v>
                </c:pt>
                <c:pt idx="582">
                  <c:v>53.73</c:v>
                </c:pt>
                <c:pt idx="583">
                  <c:v>76.707916666666605</c:v>
                </c:pt>
                <c:pt idx="584">
                  <c:v>49.93</c:v>
                </c:pt>
                <c:pt idx="585">
                  <c:v>56.155833333333298</c:v>
                </c:pt>
                <c:pt idx="586">
                  <c:v>49.869166666666601</c:v>
                </c:pt>
                <c:pt idx="587">
                  <c:v>57.069166666666597</c:v>
                </c:pt>
                <c:pt idx="588">
                  <c:v>42.998750000000001</c:v>
                </c:pt>
                <c:pt idx="589">
                  <c:v>50.1279166666666</c:v>
                </c:pt>
                <c:pt idx="590">
                  <c:v>37.558749999999897</c:v>
                </c:pt>
                <c:pt idx="591">
                  <c:v>42.296249999999901</c:v>
                </c:pt>
                <c:pt idx="592">
                  <c:v>47.533333333333303</c:v>
                </c:pt>
                <c:pt idx="593">
                  <c:v>58.02375</c:v>
                </c:pt>
                <c:pt idx="594">
                  <c:v>57.103749999999998</c:v>
                </c:pt>
                <c:pt idx="595">
                  <c:v>68.652083333333294</c:v>
                </c:pt>
                <c:pt idx="596">
                  <c:v>60.049166666666601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0000000002</c:v>
                </c:pt>
                <c:pt idx="600">
                  <c:v>45.507916666666603</c:v>
                </c:pt>
                <c:pt idx="601">
                  <c:v>57.362083333333302</c:v>
                </c:pt>
                <c:pt idx="602">
                  <c:v>65.629166666666606</c:v>
                </c:pt>
                <c:pt idx="603">
                  <c:v>67.625833333333304</c:v>
                </c:pt>
                <c:pt idx="604">
                  <c:v>51.223750000000003</c:v>
                </c:pt>
                <c:pt idx="605">
                  <c:v>69.586666666666602</c:v>
                </c:pt>
                <c:pt idx="606">
                  <c:v>61.611666666666601</c:v>
                </c:pt>
                <c:pt idx="607">
                  <c:v>54.928333333333299</c:v>
                </c:pt>
                <c:pt idx="608">
                  <c:v>54.774374999999999</c:v>
                </c:pt>
                <c:pt idx="609">
                  <c:v>57.5251666666666</c:v>
                </c:pt>
                <c:pt idx="610">
                  <c:v>55.525916666666603</c:v>
                </c:pt>
                <c:pt idx="611">
                  <c:v>93.176249999999996</c:v>
                </c:pt>
                <c:pt idx="612">
                  <c:v>73.739249999999998</c:v>
                </c:pt>
                <c:pt idx="613">
                  <c:v>67.371416666666605</c:v>
                </c:pt>
                <c:pt idx="614">
                  <c:v>54.024583333333297</c:v>
                </c:pt>
                <c:pt idx="615">
                  <c:v>56.475000000000001</c:v>
                </c:pt>
                <c:pt idx="616">
                  <c:v>50.376666666666601</c:v>
                </c:pt>
                <c:pt idx="617">
                  <c:v>41.915833333333303</c:v>
                </c:pt>
                <c:pt idx="618">
                  <c:v>42.007083333333298</c:v>
                </c:pt>
                <c:pt idx="619">
                  <c:v>48.264583333333299</c:v>
                </c:pt>
                <c:pt idx="620">
                  <c:v>57.581666666666599</c:v>
                </c:pt>
                <c:pt idx="621">
                  <c:v>81.2558333333333</c:v>
                </c:pt>
                <c:pt idx="622">
                  <c:v>50.509583333333303</c:v>
                </c:pt>
                <c:pt idx="623">
                  <c:v>61.915833333333303</c:v>
                </c:pt>
                <c:pt idx="624">
                  <c:v>44.452083333333299</c:v>
                </c:pt>
                <c:pt idx="625">
                  <c:v>66.273333333333298</c:v>
                </c:pt>
                <c:pt idx="626">
                  <c:v>56.90625</c:v>
                </c:pt>
                <c:pt idx="627">
                  <c:v>65.317499999999995</c:v>
                </c:pt>
                <c:pt idx="628">
                  <c:v>63.1516666666666</c:v>
                </c:pt>
                <c:pt idx="629">
                  <c:v>78.025416666666601</c:v>
                </c:pt>
                <c:pt idx="630">
                  <c:v>50.135833333333302</c:v>
                </c:pt>
                <c:pt idx="631">
                  <c:v>74.454583333333304</c:v>
                </c:pt>
                <c:pt idx="632">
                  <c:v>47.600416666666597</c:v>
                </c:pt>
                <c:pt idx="633">
                  <c:v>54.03875</c:v>
                </c:pt>
                <c:pt idx="634">
                  <c:v>53.240416666666597</c:v>
                </c:pt>
                <c:pt idx="635">
                  <c:v>79.754583333333301</c:v>
                </c:pt>
                <c:pt idx="636">
                  <c:v>46.871249999999897</c:v>
                </c:pt>
                <c:pt idx="637">
                  <c:v>73.267499999999998</c:v>
                </c:pt>
                <c:pt idx="638">
                  <c:v>49.975000000000001</c:v>
                </c:pt>
                <c:pt idx="639">
                  <c:v>77.7662499999999</c:v>
                </c:pt>
                <c:pt idx="640">
                  <c:v>56.203749999999999</c:v>
                </c:pt>
                <c:pt idx="641">
                  <c:v>74.744583333333296</c:v>
                </c:pt>
                <c:pt idx="642">
                  <c:v>55.783749999999998</c:v>
                </c:pt>
                <c:pt idx="643">
                  <c:v>48.494583333333303</c:v>
                </c:pt>
                <c:pt idx="644">
                  <c:v>33.299444444444397</c:v>
                </c:pt>
                <c:pt idx="645">
                  <c:v>40.534999999999997</c:v>
                </c:pt>
                <c:pt idx="646">
                  <c:v>33.344999999999999</c:v>
                </c:pt>
                <c:pt idx="647">
                  <c:v>44.9583333333333</c:v>
                </c:pt>
                <c:pt idx="648">
                  <c:v>38.847499999999997</c:v>
                </c:pt>
                <c:pt idx="649">
                  <c:v>56.487916666666599</c:v>
                </c:pt>
                <c:pt idx="650">
                  <c:v>44.548749999999998</c:v>
                </c:pt>
                <c:pt idx="651">
                  <c:v>54.977916666666601</c:v>
                </c:pt>
                <c:pt idx="652">
                  <c:v>36.4375</c:v>
                </c:pt>
                <c:pt idx="653">
                  <c:v>56.418749999999903</c:v>
                </c:pt>
                <c:pt idx="654">
                  <c:v>54.088333333333303</c:v>
                </c:pt>
                <c:pt idx="655">
                  <c:v>46.512499999999903</c:v>
                </c:pt>
                <c:pt idx="656">
                  <c:v>45.996666666666599</c:v>
                </c:pt>
                <c:pt idx="657">
                  <c:v>48.314090909090901</c:v>
                </c:pt>
                <c:pt idx="658">
                  <c:v>44.322857142857103</c:v>
                </c:pt>
                <c:pt idx="659">
                  <c:v>39.004999999999903</c:v>
                </c:pt>
                <c:pt idx="660">
                  <c:v>32.433888888888802</c:v>
                </c:pt>
                <c:pt idx="661">
                  <c:v>54.317083333333301</c:v>
                </c:pt>
                <c:pt idx="662">
                  <c:v>54.115416666666597</c:v>
                </c:pt>
                <c:pt idx="663">
                  <c:v>55.441666666666599</c:v>
                </c:pt>
                <c:pt idx="664">
                  <c:v>55.433749999999897</c:v>
                </c:pt>
                <c:pt idx="665">
                  <c:v>42.220833333333303</c:v>
                </c:pt>
                <c:pt idx="666">
                  <c:v>39.741249999999901</c:v>
                </c:pt>
                <c:pt idx="667">
                  <c:v>47.627499999999998</c:v>
                </c:pt>
                <c:pt idx="668">
                  <c:v>51.697249999999997</c:v>
                </c:pt>
                <c:pt idx="669">
                  <c:v>91.086749999999995</c:v>
                </c:pt>
                <c:pt idx="670">
                  <c:v>108.491333333333</c:v>
                </c:pt>
                <c:pt idx="671">
                  <c:v>103.15049999999999</c:v>
                </c:pt>
                <c:pt idx="672">
                  <c:v>44.554499999999997</c:v>
                </c:pt>
                <c:pt idx="673">
                  <c:v>56.459166666666597</c:v>
                </c:pt>
                <c:pt idx="674">
                  <c:v>45.986249999999998</c:v>
                </c:pt>
                <c:pt idx="675">
                  <c:v>45.425833333333301</c:v>
                </c:pt>
                <c:pt idx="676">
                  <c:v>39.856999999999999</c:v>
                </c:pt>
                <c:pt idx="677">
                  <c:v>42.868636363636298</c:v>
                </c:pt>
                <c:pt idx="678">
                  <c:v>37.848499999999902</c:v>
                </c:pt>
                <c:pt idx="679">
                  <c:v>47.806249999999999</c:v>
                </c:pt>
                <c:pt idx="680">
                  <c:v>60.922083333333298</c:v>
                </c:pt>
                <c:pt idx="681">
                  <c:v>62.5266666666666</c:v>
                </c:pt>
                <c:pt idx="682">
                  <c:v>80.026249999999905</c:v>
                </c:pt>
                <c:pt idx="683">
                  <c:v>93.381249999999994</c:v>
                </c:pt>
                <c:pt idx="684">
                  <c:v>52.632916666666603</c:v>
                </c:pt>
                <c:pt idx="685">
                  <c:v>66.297916666666595</c:v>
                </c:pt>
                <c:pt idx="686">
                  <c:v>41.935833333333299</c:v>
                </c:pt>
                <c:pt idx="687">
                  <c:v>47.556666666666601</c:v>
                </c:pt>
                <c:pt idx="688">
                  <c:v>51.536249999999903</c:v>
                </c:pt>
                <c:pt idx="689">
                  <c:v>58.006666666666597</c:v>
                </c:pt>
                <c:pt idx="690">
                  <c:v>55.424583333333302</c:v>
                </c:pt>
                <c:pt idx="691">
                  <c:v>69.689583333333303</c:v>
                </c:pt>
                <c:pt idx="692">
                  <c:v>56.573333333333302</c:v>
                </c:pt>
                <c:pt idx="693">
                  <c:v>89.414583333333297</c:v>
                </c:pt>
                <c:pt idx="694">
                  <c:v>65.425416666666607</c:v>
                </c:pt>
                <c:pt idx="695">
                  <c:v>79.218333333333305</c:v>
                </c:pt>
                <c:pt idx="696">
                  <c:v>61.090416666666599</c:v>
                </c:pt>
                <c:pt idx="697">
                  <c:v>82.684583333333293</c:v>
                </c:pt>
                <c:pt idx="698">
                  <c:v>58.484583333333298</c:v>
                </c:pt>
                <c:pt idx="699">
                  <c:v>88.352916666666601</c:v>
                </c:pt>
                <c:pt idx="700">
                  <c:v>68.344166666666595</c:v>
                </c:pt>
                <c:pt idx="701">
                  <c:v>54.754999999999903</c:v>
                </c:pt>
                <c:pt idx="702">
                  <c:v>57.566249999999897</c:v>
                </c:pt>
                <c:pt idx="703">
                  <c:v>53.733750000000001</c:v>
                </c:pt>
                <c:pt idx="704">
                  <c:v>59.697083333333303</c:v>
                </c:pt>
                <c:pt idx="705">
                  <c:v>51.734583333333298</c:v>
                </c:pt>
                <c:pt idx="706">
                  <c:v>38.423333333333296</c:v>
                </c:pt>
                <c:pt idx="707">
                  <c:v>44.949583333333301</c:v>
                </c:pt>
                <c:pt idx="708">
                  <c:v>44.59</c:v>
                </c:pt>
                <c:pt idx="709">
                  <c:v>48.774999999999999</c:v>
                </c:pt>
                <c:pt idx="710">
                  <c:v>46.790833333333303</c:v>
                </c:pt>
                <c:pt idx="711">
                  <c:v>56.972916666666599</c:v>
                </c:pt>
                <c:pt idx="712">
                  <c:v>46.969583333333297</c:v>
                </c:pt>
                <c:pt idx="713">
                  <c:v>48.4270833333333</c:v>
                </c:pt>
                <c:pt idx="714">
                  <c:v>42.350833333333298</c:v>
                </c:pt>
                <c:pt idx="715">
                  <c:v>40.680833333333297</c:v>
                </c:pt>
                <c:pt idx="716">
                  <c:v>37.1666666666666</c:v>
                </c:pt>
                <c:pt idx="717">
                  <c:v>38.960833333333298</c:v>
                </c:pt>
                <c:pt idx="718">
                  <c:v>40.265416666666603</c:v>
                </c:pt>
                <c:pt idx="719">
                  <c:v>42.8674999999999</c:v>
                </c:pt>
                <c:pt idx="720">
                  <c:v>49.396249999999903</c:v>
                </c:pt>
                <c:pt idx="721">
                  <c:v>41.455833333333302</c:v>
                </c:pt>
                <c:pt idx="722">
                  <c:v>33.367727272727201</c:v>
                </c:pt>
                <c:pt idx="723">
                  <c:v>43.60125</c:v>
                </c:pt>
                <c:pt idx="724">
                  <c:v>45.102083333333297</c:v>
                </c:pt>
                <c:pt idx="725">
                  <c:v>48.505416666666598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299</c:v>
                </c:pt>
                <c:pt idx="729">
                  <c:v>42.499583333333298</c:v>
                </c:pt>
              </c:numCache>
            </c:numRef>
          </c:xVal>
          <c:yVal>
            <c:numRef>
              <c:f>Sheet1!$E$3:$E$732</c:f>
              <c:numCache>
                <c:formatCode>0.00</c:formatCode>
                <c:ptCount val="730"/>
                <c:pt idx="0">
                  <c:v>2674.4304999999999</c:v>
                </c:pt>
                <c:pt idx="1">
                  <c:v>2576.1278333333298</c:v>
                </c:pt>
                <c:pt idx="2">
                  <c:v>2131.9819583333301</c:v>
                </c:pt>
                <c:pt idx="3">
                  <c:v>2772.0559583333302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898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298</c:v>
                </c:pt>
                <c:pt idx="12">
                  <c:v>2228.9214999999999</c:v>
                </c:pt>
                <c:pt idx="13">
                  <c:v>2289.4490000000001</c:v>
                </c:pt>
                <c:pt idx="14">
                  <c:v>1966.19391666666</c:v>
                </c:pt>
                <c:pt idx="15">
                  <c:v>2222.9840416666598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01</c:v>
                </c:pt>
                <c:pt idx="19">
                  <c:v>2157.2933333333299</c:v>
                </c:pt>
                <c:pt idx="20">
                  <c:v>1933.9007916666601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01</c:v>
                </c:pt>
                <c:pt idx="24">
                  <c:v>1863.6369999999899</c:v>
                </c:pt>
                <c:pt idx="25">
                  <c:v>2185.68658333333</c:v>
                </c:pt>
                <c:pt idx="26">
                  <c:v>2185.5760416666599</c:v>
                </c:pt>
                <c:pt idx="27">
                  <c:v>3175.2769166666599</c:v>
                </c:pt>
                <c:pt idx="28">
                  <c:v>2648.79408333333</c:v>
                </c:pt>
                <c:pt idx="29">
                  <c:v>3164.5167499999998</c:v>
                </c:pt>
                <c:pt idx="30">
                  <c:v>2308.0395416666602</c:v>
                </c:pt>
                <c:pt idx="31">
                  <c:v>2417.7790416666599</c:v>
                </c:pt>
                <c:pt idx="32">
                  <c:v>1961.419625</c:v>
                </c:pt>
                <c:pt idx="33">
                  <c:v>2127.0714583333302</c:v>
                </c:pt>
                <c:pt idx="34">
                  <c:v>2004.6923124999901</c:v>
                </c:pt>
                <c:pt idx="35">
                  <c:v>2200.4989999999998</c:v>
                </c:pt>
                <c:pt idx="36">
                  <c:v>1839.5621428571401</c:v>
                </c:pt>
                <c:pt idx="37">
                  <c:v>2184.156125</c:v>
                </c:pt>
                <c:pt idx="38">
                  <c:v>1748.4124999999999</c:v>
                </c:pt>
                <c:pt idx="39">
                  <c:v>2417.6507083333299</c:v>
                </c:pt>
                <c:pt idx="40">
                  <c:v>2067.5482916666601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599</c:v>
                </c:pt>
                <c:pt idx="44">
                  <c:v>2155.5055416666601</c:v>
                </c:pt>
                <c:pt idx="45">
                  <c:v>2449.9735416666599</c:v>
                </c:pt>
                <c:pt idx="46">
                  <c:v>1994.9894545454499</c:v>
                </c:pt>
                <c:pt idx="47">
                  <c:v>2281.8349166666599</c:v>
                </c:pt>
                <c:pt idx="48">
                  <c:v>1951.5263333333301</c:v>
                </c:pt>
                <c:pt idx="49">
                  <c:v>2341.0592916666601</c:v>
                </c:pt>
                <c:pt idx="50">
                  <c:v>1823.6909166666601</c:v>
                </c:pt>
                <c:pt idx="51">
                  <c:v>2288.3790416666602</c:v>
                </c:pt>
                <c:pt idx="52">
                  <c:v>1833.969625</c:v>
                </c:pt>
                <c:pt idx="53">
                  <c:v>2465.6632500000001</c:v>
                </c:pt>
                <c:pt idx="54">
                  <c:v>1844.722</c:v>
                </c:pt>
                <c:pt idx="55">
                  <c:v>2259.0371666666601</c:v>
                </c:pt>
                <c:pt idx="56">
                  <c:v>1988.9660833333301</c:v>
                </c:pt>
                <c:pt idx="57">
                  <c:v>2498.4301666666602</c:v>
                </c:pt>
                <c:pt idx="58">
                  <c:v>2064.4832499999902</c:v>
                </c:pt>
                <c:pt idx="59">
                  <c:v>2629.6935416666602</c:v>
                </c:pt>
                <c:pt idx="60">
                  <c:v>2088.8087500000001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49999999</c:v>
                </c:pt>
                <c:pt idx="64">
                  <c:v>2012.0826666666601</c:v>
                </c:pt>
                <c:pt idx="65">
                  <c:v>2765.58395833333</c:v>
                </c:pt>
                <c:pt idx="66">
                  <c:v>1877.6705833333299</c:v>
                </c:pt>
                <c:pt idx="67">
                  <c:v>2193.5964166666599</c:v>
                </c:pt>
                <c:pt idx="68">
                  <c:v>2175.5892142857101</c:v>
                </c:pt>
                <c:pt idx="69">
                  <c:v>2378.2999583333299</c:v>
                </c:pt>
                <c:pt idx="70">
                  <c:v>2051.6291428571399</c:v>
                </c:pt>
                <c:pt idx="71">
                  <c:v>2120.0478750000002</c:v>
                </c:pt>
                <c:pt idx="72">
                  <c:v>1760.261375</c:v>
                </c:pt>
                <c:pt idx="73">
                  <c:v>2111.6414583333299</c:v>
                </c:pt>
                <c:pt idx="74">
                  <c:v>2026.5122916666601</c:v>
                </c:pt>
                <c:pt idx="75">
                  <c:v>2289.0562083333298</c:v>
                </c:pt>
                <c:pt idx="76">
                  <c:v>1996.34679166666</c:v>
                </c:pt>
                <c:pt idx="77">
                  <c:v>2194.7312916666601</c:v>
                </c:pt>
                <c:pt idx="78">
                  <c:v>1922.08879166666</c:v>
                </c:pt>
                <c:pt idx="79">
                  <c:v>2188.2592916666599</c:v>
                </c:pt>
                <c:pt idx="80">
                  <c:v>1805.3314583333299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01</c:v>
                </c:pt>
                <c:pt idx="85">
                  <c:v>2126.41379166666</c:v>
                </c:pt>
                <c:pt idx="86">
                  <c:v>2547.8222500000002</c:v>
                </c:pt>
                <c:pt idx="87">
                  <c:v>3266.0770833333299</c:v>
                </c:pt>
                <c:pt idx="88">
                  <c:v>2419.2827499999999</c:v>
                </c:pt>
                <c:pt idx="89">
                  <c:v>2691.4539999999902</c:v>
                </c:pt>
                <c:pt idx="90">
                  <c:v>2256.8607499999998</c:v>
                </c:pt>
                <c:pt idx="91">
                  <c:v>2775.1006666666599</c:v>
                </c:pt>
                <c:pt idx="92">
                  <c:v>2142.8525833333301</c:v>
                </c:pt>
                <c:pt idx="93">
                  <c:v>2670.6450833333301</c:v>
                </c:pt>
                <c:pt idx="94">
                  <c:v>1874.96795833333</c:v>
                </c:pt>
                <c:pt idx="95">
                  <c:v>2058.6119166666599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299</c:v>
                </c:pt>
                <c:pt idx="101">
                  <c:v>3203.9935833333302</c:v>
                </c:pt>
                <c:pt idx="102">
                  <c:v>2531.7787499999999</c:v>
                </c:pt>
                <c:pt idx="103">
                  <c:v>3296.54145833333</c:v>
                </c:pt>
                <c:pt idx="104">
                  <c:v>2438.7048749999999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299</c:v>
                </c:pt>
                <c:pt idx="108">
                  <c:v>1658.6374166666601</c:v>
                </c:pt>
                <c:pt idx="109">
                  <c:v>2032.0067083333299</c:v>
                </c:pt>
                <c:pt idx="110">
                  <c:v>2014.1435833333301</c:v>
                </c:pt>
                <c:pt idx="111">
                  <c:v>2763.3914999999902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49999999</c:v>
                </c:pt>
                <c:pt idx="116">
                  <c:v>2219.0850833333302</c:v>
                </c:pt>
                <c:pt idx="117">
                  <c:v>2785.3510000000001</c:v>
                </c:pt>
                <c:pt idx="118">
                  <c:v>2022.3139166666599</c:v>
                </c:pt>
                <c:pt idx="119">
                  <c:v>2246.1746250000001</c:v>
                </c:pt>
                <c:pt idx="120">
                  <c:v>1955.92941666666</c:v>
                </c:pt>
                <c:pt idx="121">
                  <c:v>2746.7552083333298</c:v>
                </c:pt>
                <c:pt idx="122">
                  <c:v>1767.7171249999999</c:v>
                </c:pt>
                <c:pt idx="123">
                  <c:v>2275.6261666666601</c:v>
                </c:pt>
                <c:pt idx="124">
                  <c:v>2016.70516666666</c:v>
                </c:pt>
                <c:pt idx="125">
                  <c:v>2550.7890000000002</c:v>
                </c:pt>
                <c:pt idx="126">
                  <c:v>1815.8290833333299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49999998</c:v>
                </c:pt>
                <c:pt idx="130">
                  <c:v>2008.6056249999999</c:v>
                </c:pt>
                <c:pt idx="131">
                  <c:v>2403.17054166666</c:v>
                </c:pt>
                <c:pt idx="132">
                  <c:v>1802.7807499999999</c:v>
                </c:pt>
                <c:pt idx="133">
                  <c:v>2012.3384166666599</c:v>
                </c:pt>
                <c:pt idx="134">
                  <c:v>1925.6469583333301</c:v>
                </c:pt>
                <c:pt idx="135">
                  <c:v>2278.7637083333302</c:v>
                </c:pt>
                <c:pt idx="136">
                  <c:v>2003.20657142857</c:v>
                </c:pt>
                <c:pt idx="137">
                  <c:v>2089.9385833333299</c:v>
                </c:pt>
                <c:pt idx="138">
                  <c:v>1675.94927272727</c:v>
                </c:pt>
                <c:pt idx="139">
                  <c:v>2098.6694583333301</c:v>
                </c:pt>
                <c:pt idx="140">
                  <c:v>1905.87735</c:v>
                </c:pt>
                <c:pt idx="141">
                  <c:v>2054.7722916666598</c:v>
                </c:pt>
                <c:pt idx="142">
                  <c:v>1897.8969090909</c:v>
                </c:pt>
                <c:pt idx="143">
                  <c:v>2157.9027500000002</c:v>
                </c:pt>
                <c:pt idx="144">
                  <c:v>2109.0095000000001</c:v>
                </c:pt>
                <c:pt idx="145">
                  <c:v>2259.53731818181</c:v>
                </c:pt>
                <c:pt idx="146">
                  <c:v>2036.0522000000001</c:v>
                </c:pt>
                <c:pt idx="147">
                  <c:v>2303.133875</c:v>
                </c:pt>
                <c:pt idx="148">
                  <c:v>1791.6844999999901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01</c:v>
                </c:pt>
                <c:pt idx="152">
                  <c:v>2108.3857083333301</c:v>
                </c:pt>
                <c:pt idx="153">
                  <c:v>2577.1646249999999</c:v>
                </c:pt>
                <c:pt idx="154">
                  <c:v>2107.1595833333299</c:v>
                </c:pt>
                <c:pt idx="155">
                  <c:v>2527.9144166666601</c:v>
                </c:pt>
                <c:pt idx="156">
                  <c:v>2046.2037499999999</c:v>
                </c:pt>
                <c:pt idx="157">
                  <c:v>2268.3677916666602</c:v>
                </c:pt>
                <c:pt idx="158">
                  <c:v>1968.2440909090899</c:v>
                </c:pt>
                <c:pt idx="159">
                  <c:v>2173.0286249999999</c:v>
                </c:pt>
                <c:pt idx="160">
                  <c:v>2010.4895555555499</c:v>
                </c:pt>
                <c:pt idx="161">
                  <c:v>2118.1903750000001</c:v>
                </c:pt>
                <c:pt idx="162">
                  <c:v>1785.1503749999899</c:v>
                </c:pt>
                <c:pt idx="163">
                  <c:v>1962.36544999999</c:v>
                </c:pt>
                <c:pt idx="164">
                  <c:v>1752.3128999999999</c:v>
                </c:pt>
                <c:pt idx="165">
                  <c:v>1970.0640454545401</c:v>
                </c:pt>
                <c:pt idx="166">
                  <c:v>2105.8021250000002</c:v>
                </c:pt>
                <c:pt idx="167">
                  <c:v>2244.6122083333298</c:v>
                </c:pt>
                <c:pt idx="168">
                  <c:v>2130.4705714285701</c:v>
                </c:pt>
                <c:pt idx="169">
                  <c:v>2107.2345416666599</c:v>
                </c:pt>
                <c:pt idx="170">
                  <c:v>1890.0461250000001</c:v>
                </c:pt>
                <c:pt idx="171">
                  <c:v>2064.86241666666</c:v>
                </c:pt>
                <c:pt idx="172">
                  <c:v>1992.3972777777699</c:v>
                </c:pt>
                <c:pt idx="173">
                  <c:v>2193.5958333333301</c:v>
                </c:pt>
                <c:pt idx="174">
                  <c:v>1713.057875</c:v>
                </c:pt>
                <c:pt idx="175">
                  <c:v>1844.6421111111099</c:v>
                </c:pt>
                <c:pt idx="176">
                  <c:v>1794.3062</c:v>
                </c:pt>
                <c:pt idx="177">
                  <c:v>1879.9822222222199</c:v>
                </c:pt>
                <c:pt idx="178">
                  <c:v>1726.2678333333299</c:v>
                </c:pt>
                <c:pt idx="179">
                  <c:v>1909.5529166666599</c:v>
                </c:pt>
                <c:pt idx="180">
                  <c:v>1895.5373499999901</c:v>
                </c:pt>
                <c:pt idx="181">
                  <c:v>2075.2814583333302</c:v>
                </c:pt>
                <c:pt idx="182">
                  <c:v>2204.4625000000001</c:v>
                </c:pt>
                <c:pt idx="183">
                  <c:v>2647.4805833333298</c:v>
                </c:pt>
                <c:pt idx="184">
                  <c:v>1895.28920833333</c:v>
                </c:pt>
                <c:pt idx="185">
                  <c:v>2096.7167083333302</c:v>
                </c:pt>
                <c:pt idx="186">
                  <c:v>2094.1008333333298</c:v>
                </c:pt>
                <c:pt idx="187">
                  <c:v>2630.4309166666599</c:v>
                </c:pt>
                <c:pt idx="188">
                  <c:v>1754.1857499999901</c:v>
                </c:pt>
                <c:pt idx="189">
                  <c:v>1884.8855454545401</c:v>
                </c:pt>
                <c:pt idx="190">
                  <c:v>1949.35475</c:v>
                </c:pt>
                <c:pt idx="191">
                  <c:v>2305.1105416666601</c:v>
                </c:pt>
                <c:pt idx="192">
                  <c:v>2093.9851249999901</c:v>
                </c:pt>
                <c:pt idx="193">
                  <c:v>2421.5386249999901</c:v>
                </c:pt>
                <c:pt idx="194">
                  <c:v>1716.26629166666</c:v>
                </c:pt>
                <c:pt idx="195">
                  <c:v>1981.6607083333299</c:v>
                </c:pt>
                <c:pt idx="196">
                  <c:v>1874.97291666666</c:v>
                </c:pt>
                <c:pt idx="197">
                  <c:v>2096.9939999999901</c:v>
                </c:pt>
                <c:pt idx="198">
                  <c:v>1859.7716666666599</c:v>
                </c:pt>
                <c:pt idx="199">
                  <c:v>2115.2125000000001</c:v>
                </c:pt>
                <c:pt idx="200">
                  <c:v>2080.5575833333301</c:v>
                </c:pt>
                <c:pt idx="201">
                  <c:v>2572.0059999999999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299</c:v>
                </c:pt>
                <c:pt idx="205">
                  <c:v>2098.1899166666599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01</c:v>
                </c:pt>
                <c:pt idx="209">
                  <c:v>2398.56170833333</c:v>
                </c:pt>
                <c:pt idx="210">
                  <c:v>2048.9234999999999</c:v>
                </c:pt>
                <c:pt idx="211">
                  <c:v>2373.5059999999999</c:v>
                </c:pt>
                <c:pt idx="212">
                  <c:v>1995.30845833333</c:v>
                </c:pt>
                <c:pt idx="213">
                  <c:v>2278.0785833333298</c:v>
                </c:pt>
                <c:pt idx="214">
                  <c:v>1923.8526666666601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598</c:v>
                </c:pt>
                <c:pt idx="218">
                  <c:v>1731.95370833333</c:v>
                </c:pt>
                <c:pt idx="219">
                  <c:v>1932.3406666666599</c:v>
                </c:pt>
                <c:pt idx="220">
                  <c:v>1618.6572916666601</c:v>
                </c:pt>
                <c:pt idx="221">
                  <c:v>1923.4404583333301</c:v>
                </c:pt>
                <c:pt idx="222">
                  <c:v>1879.78416666666</c:v>
                </c:pt>
                <c:pt idx="223">
                  <c:v>2109.7046666666602</c:v>
                </c:pt>
                <c:pt idx="224">
                  <c:v>1805.62670833333</c:v>
                </c:pt>
                <c:pt idx="225">
                  <c:v>2094.1961249999999</c:v>
                </c:pt>
                <c:pt idx="226">
                  <c:v>1835.2183333333301</c:v>
                </c:pt>
                <c:pt idx="227">
                  <c:v>2135.9254999999998</c:v>
                </c:pt>
                <c:pt idx="228">
                  <c:v>1650.9535000000001</c:v>
                </c:pt>
                <c:pt idx="229">
                  <c:v>1909.9368750000001</c:v>
                </c:pt>
                <c:pt idx="230">
                  <c:v>1819.76733333333</c:v>
                </c:pt>
                <c:pt idx="231">
                  <c:v>2076.1788333333302</c:v>
                </c:pt>
                <c:pt idx="232">
                  <c:v>1647.1206666666601</c:v>
                </c:pt>
                <c:pt idx="233">
                  <c:v>1907.8098749999999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0000000001</c:v>
                </c:pt>
                <c:pt idx="237">
                  <c:v>2112.4864583333301</c:v>
                </c:pt>
                <c:pt idx="238">
                  <c:v>2040.2557142857099</c:v>
                </c:pt>
                <c:pt idx="239">
                  <c:v>2149.3773333333302</c:v>
                </c:pt>
                <c:pt idx="240">
                  <c:v>1816.9179999999999</c:v>
                </c:pt>
                <c:pt idx="241">
                  <c:v>2432.2733181818098</c:v>
                </c:pt>
                <c:pt idx="242">
                  <c:v>2029.36579166666</c:v>
                </c:pt>
                <c:pt idx="243">
                  <c:v>2417.7076666666599</c:v>
                </c:pt>
                <c:pt idx="244">
                  <c:v>1971.1330416666599</c:v>
                </c:pt>
                <c:pt idx="245">
                  <c:v>2307.2817083333298</c:v>
                </c:pt>
                <c:pt idx="246">
                  <c:v>2072.0460416666601</c:v>
                </c:pt>
                <c:pt idx="247">
                  <c:v>2325.5537083333302</c:v>
                </c:pt>
                <c:pt idx="248">
                  <c:v>1682.53033333333</c:v>
                </c:pt>
                <c:pt idx="249">
                  <c:v>1845.6923750000001</c:v>
                </c:pt>
                <c:pt idx="250">
                  <c:v>1947.2274583333301</c:v>
                </c:pt>
                <c:pt idx="251">
                  <c:v>2272.6708333333299</c:v>
                </c:pt>
                <c:pt idx="252">
                  <c:v>2162.9690416666599</c:v>
                </c:pt>
                <c:pt idx="253">
                  <c:v>2396.8091666666601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01</c:v>
                </c:pt>
                <c:pt idx="258">
                  <c:v>1752.35545833333</c:v>
                </c:pt>
                <c:pt idx="259">
                  <c:v>1953.0465833333301</c:v>
                </c:pt>
                <c:pt idx="260">
                  <c:v>2006.93199999999</c:v>
                </c:pt>
                <c:pt idx="261">
                  <c:v>2167.6819583333299</c:v>
                </c:pt>
                <c:pt idx="262">
                  <c:v>2025.9698333333299</c:v>
                </c:pt>
                <c:pt idx="263">
                  <c:v>2364.0405416666599</c:v>
                </c:pt>
                <c:pt idx="264">
                  <c:v>1953.5266875</c:v>
                </c:pt>
                <c:pt idx="265">
                  <c:v>2081.5011666666601</c:v>
                </c:pt>
                <c:pt idx="266">
                  <c:v>1833.8292916666601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02</c:v>
                </c:pt>
                <c:pt idx="270">
                  <c:v>1989.1543750000001</c:v>
                </c:pt>
                <c:pt idx="271">
                  <c:v>2151.98383333333</c:v>
                </c:pt>
                <c:pt idx="272">
                  <c:v>1885.0945454545399</c:v>
                </c:pt>
                <c:pt idx="273">
                  <c:v>2100.1242499999998</c:v>
                </c:pt>
                <c:pt idx="274">
                  <c:v>1702.1761818181801</c:v>
                </c:pt>
                <c:pt idx="275">
                  <c:v>1951.5956249999999</c:v>
                </c:pt>
                <c:pt idx="276">
                  <c:v>1599.57408333333</c:v>
                </c:pt>
                <c:pt idx="277">
                  <c:v>1928.0886666666599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01</c:v>
                </c:pt>
                <c:pt idx="282">
                  <c:v>1896.82779166666</c:v>
                </c:pt>
                <c:pt idx="283">
                  <c:v>2179.9699166666601</c:v>
                </c:pt>
                <c:pt idx="284">
                  <c:v>1908.9708333333299</c:v>
                </c:pt>
                <c:pt idx="285">
                  <c:v>2201.0394166666601</c:v>
                </c:pt>
                <c:pt idx="286">
                  <c:v>1941.4735416666599</c:v>
                </c:pt>
                <c:pt idx="287">
                  <c:v>2156.9471250000001</c:v>
                </c:pt>
                <c:pt idx="288">
                  <c:v>1900.7242857142801</c:v>
                </c:pt>
                <c:pt idx="289">
                  <c:v>1990.6963333333299</c:v>
                </c:pt>
                <c:pt idx="290">
                  <c:v>1641.170875</c:v>
                </c:pt>
                <c:pt idx="291">
                  <c:v>1928.348999999999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299</c:v>
                </c:pt>
                <c:pt idx="295">
                  <c:v>2221.4512083333302</c:v>
                </c:pt>
                <c:pt idx="296">
                  <c:v>1911.44145833333</c:v>
                </c:pt>
                <c:pt idx="297">
                  <c:v>2154.5671666666599</c:v>
                </c:pt>
                <c:pt idx="298">
                  <c:v>2086.4557222222202</c:v>
                </c:pt>
                <c:pt idx="299">
                  <c:v>2375.8916249999902</c:v>
                </c:pt>
                <c:pt idx="300">
                  <c:v>2278.90968749999</c:v>
                </c:pt>
                <c:pt idx="301">
                  <c:v>2414.6731818181802</c:v>
                </c:pt>
                <c:pt idx="302">
                  <c:v>1976.13129999999</c:v>
                </c:pt>
                <c:pt idx="303">
                  <c:v>2665.5086249999999</c:v>
                </c:pt>
                <c:pt idx="304">
                  <c:v>2063.6120000000001</c:v>
                </c:pt>
                <c:pt idx="305">
                  <c:v>2220.75304166666</c:v>
                </c:pt>
                <c:pt idx="306">
                  <c:v>2043.6455000000001</c:v>
                </c:pt>
                <c:pt idx="307">
                  <c:v>2350.2772916666599</c:v>
                </c:pt>
                <c:pt idx="308">
                  <c:v>1895.89842857142</c:v>
                </c:pt>
                <c:pt idx="309">
                  <c:v>2092.5697499999901</c:v>
                </c:pt>
                <c:pt idx="310">
                  <c:v>1798.14591666666</c:v>
                </c:pt>
                <c:pt idx="311">
                  <c:v>2105.5673333333302</c:v>
                </c:pt>
                <c:pt idx="312">
                  <c:v>1923.17379166666</c:v>
                </c:pt>
                <c:pt idx="313">
                  <c:v>2208.3795416666599</c:v>
                </c:pt>
                <c:pt idx="314">
                  <c:v>1958.0631249999999</c:v>
                </c:pt>
                <c:pt idx="315">
                  <c:v>2245.5582083333302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298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599</c:v>
                </c:pt>
                <c:pt idx="323">
                  <c:v>2126.8541249999998</c:v>
                </c:pt>
                <c:pt idx="324">
                  <c:v>2100.2164583333301</c:v>
                </c:pt>
                <c:pt idx="325">
                  <c:v>2545.1474166666599</c:v>
                </c:pt>
                <c:pt idx="326">
                  <c:v>2023.9495833333301</c:v>
                </c:pt>
                <c:pt idx="327">
                  <c:v>2276.0501250000002</c:v>
                </c:pt>
                <c:pt idx="328">
                  <c:v>1991.1601250000001</c:v>
                </c:pt>
                <c:pt idx="329">
                  <c:v>2287.9387083333299</c:v>
                </c:pt>
                <c:pt idx="330">
                  <c:v>1849.9232916666599</c:v>
                </c:pt>
                <c:pt idx="331">
                  <c:v>2194.1292083333301</c:v>
                </c:pt>
                <c:pt idx="332">
                  <c:v>1790.3879583333301</c:v>
                </c:pt>
                <c:pt idx="333">
                  <c:v>2141.3363749999999</c:v>
                </c:pt>
                <c:pt idx="334">
                  <c:v>2057.9334999999901</c:v>
                </c:pt>
                <c:pt idx="335">
                  <c:v>2406.0681666666601</c:v>
                </c:pt>
                <c:pt idx="336">
                  <c:v>2095.8654166666602</c:v>
                </c:pt>
                <c:pt idx="337">
                  <c:v>2445.3009999999999</c:v>
                </c:pt>
                <c:pt idx="338">
                  <c:v>2086.9225833333298</c:v>
                </c:pt>
                <c:pt idx="339">
                  <c:v>2370.00979166666</c:v>
                </c:pt>
                <c:pt idx="340">
                  <c:v>2085.0864166666602</c:v>
                </c:pt>
                <c:pt idx="341">
                  <c:v>2395.16129166666</c:v>
                </c:pt>
                <c:pt idx="342">
                  <c:v>2235.5886666666602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499999999</c:v>
                </c:pt>
                <c:pt idx="346">
                  <c:v>1914.3522</c:v>
                </c:pt>
                <c:pt idx="347">
                  <c:v>2149.4061666666598</c:v>
                </c:pt>
                <c:pt idx="348">
                  <c:v>1990.1363181818101</c:v>
                </c:pt>
                <c:pt idx="349">
                  <c:v>2258.9283333333301</c:v>
                </c:pt>
                <c:pt idx="350">
                  <c:v>1961.3875</c:v>
                </c:pt>
                <c:pt idx="351">
                  <c:v>2335.6261249999998</c:v>
                </c:pt>
                <c:pt idx="352">
                  <c:v>2000.8362916666599</c:v>
                </c:pt>
                <c:pt idx="353">
                  <c:v>2338.0388749999902</c:v>
                </c:pt>
                <c:pt idx="354">
                  <c:v>2019.33712499999</c:v>
                </c:pt>
                <c:pt idx="355">
                  <c:v>2289.0407083333298</c:v>
                </c:pt>
                <c:pt idx="356">
                  <c:v>1994.4352083333299</c:v>
                </c:pt>
                <c:pt idx="357">
                  <c:v>2222.3777083333298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598</c:v>
                </c:pt>
                <c:pt idx="362">
                  <c:v>2384.7628749999999</c:v>
                </c:pt>
                <c:pt idx="363">
                  <c:v>3175.5055000000002</c:v>
                </c:pt>
                <c:pt idx="364">
                  <c:v>1879.307</c:v>
                </c:pt>
                <c:pt idx="365">
                  <c:v>2233.8377500000001</c:v>
                </c:pt>
                <c:pt idx="366">
                  <c:v>2098.0626499999998</c:v>
                </c:pt>
                <c:pt idx="367">
                  <c:v>2477.5514583333302</c:v>
                </c:pt>
                <c:pt idx="368">
                  <c:v>1810.3757499999999</c:v>
                </c:pt>
                <c:pt idx="369">
                  <c:v>2138.3887916666599</c:v>
                </c:pt>
                <c:pt idx="370">
                  <c:v>1767.7639999999999</c:v>
                </c:pt>
                <c:pt idx="371">
                  <c:v>2166.1871000000001</c:v>
                </c:pt>
                <c:pt idx="372">
                  <c:v>1971.0527499999901</c:v>
                </c:pt>
                <c:pt idx="373">
                  <c:v>2203.1564166666599</c:v>
                </c:pt>
                <c:pt idx="374">
                  <c:v>1859.2815416666599</c:v>
                </c:pt>
                <c:pt idx="375">
                  <c:v>2249.0152916666598</c:v>
                </c:pt>
                <c:pt idx="376">
                  <c:v>1922.1611249999901</c:v>
                </c:pt>
                <c:pt idx="377">
                  <c:v>2221.432875</c:v>
                </c:pt>
                <c:pt idx="378">
                  <c:v>1745.8321249999999</c:v>
                </c:pt>
                <c:pt idx="379">
                  <c:v>2018.5865833333301</c:v>
                </c:pt>
                <c:pt idx="380">
                  <c:v>1857.62129166666</c:v>
                </c:pt>
                <c:pt idx="381">
                  <c:v>2091.5625416666599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49999999</c:v>
                </c:pt>
                <c:pt idx="385">
                  <c:v>2156.9050833333299</c:v>
                </c:pt>
                <c:pt idx="386">
                  <c:v>1863.51966666666</c:v>
                </c:pt>
                <c:pt idx="387">
                  <c:v>2113.2942083333301</c:v>
                </c:pt>
                <c:pt idx="388">
                  <c:v>1727.4197916666601</c:v>
                </c:pt>
                <c:pt idx="389">
                  <c:v>2095.5535</c:v>
                </c:pt>
                <c:pt idx="390">
                  <c:v>1967.7181249999901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49999998</c:v>
                </c:pt>
                <c:pt idx="394">
                  <c:v>2030.9194583333301</c:v>
                </c:pt>
                <c:pt idx="395">
                  <c:v>2445.4532083333302</c:v>
                </c:pt>
                <c:pt idx="396">
                  <c:v>2128.7746666666599</c:v>
                </c:pt>
                <c:pt idx="397">
                  <c:v>2486.29025</c:v>
                </c:pt>
                <c:pt idx="398">
                  <c:v>2153.5862499999998</c:v>
                </c:pt>
                <c:pt idx="399">
                  <c:v>2445.9498749999998</c:v>
                </c:pt>
                <c:pt idx="400">
                  <c:v>1976.4664166666601</c:v>
                </c:pt>
                <c:pt idx="401">
                  <c:v>2273.79779166666</c:v>
                </c:pt>
                <c:pt idx="402">
                  <c:v>1887.0905416666601</c:v>
                </c:pt>
                <c:pt idx="403">
                  <c:v>2286.2764583333301</c:v>
                </c:pt>
                <c:pt idx="404">
                  <c:v>2117.26695833333</c:v>
                </c:pt>
                <c:pt idx="405">
                  <c:v>2382.9783333333298</c:v>
                </c:pt>
                <c:pt idx="406">
                  <c:v>2141.53866666666</c:v>
                </c:pt>
                <c:pt idx="407">
                  <c:v>2240.2341666666598</c:v>
                </c:pt>
                <c:pt idx="408">
                  <c:v>1878.19175</c:v>
                </c:pt>
                <c:pt idx="409">
                  <c:v>2191.5256250000002</c:v>
                </c:pt>
                <c:pt idx="410">
                  <c:v>1887.7463749999899</c:v>
                </c:pt>
                <c:pt idx="411">
                  <c:v>2213.9628333333299</c:v>
                </c:pt>
                <c:pt idx="412">
                  <c:v>1996.06308333333</c:v>
                </c:pt>
                <c:pt idx="413">
                  <c:v>2482.7692499999998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599</c:v>
                </c:pt>
                <c:pt idx="417">
                  <c:v>2099.3076249999999</c:v>
                </c:pt>
                <c:pt idx="418">
                  <c:v>2000.35366666666</c:v>
                </c:pt>
                <c:pt idx="419">
                  <c:v>2385.5984999999901</c:v>
                </c:pt>
                <c:pt idx="420">
                  <c:v>2051.9919583333299</c:v>
                </c:pt>
                <c:pt idx="421">
                  <c:v>2307.1601249999999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499999998</c:v>
                </c:pt>
                <c:pt idx="425">
                  <c:v>3135.2914166666601</c:v>
                </c:pt>
                <c:pt idx="426">
                  <c:v>2020.72577777777</c:v>
                </c:pt>
                <c:pt idx="427">
                  <c:v>2479.9036666666598</c:v>
                </c:pt>
                <c:pt idx="428">
                  <c:v>2173.7058333333298</c:v>
                </c:pt>
                <c:pt idx="429">
                  <c:v>2584.7835833333302</c:v>
                </c:pt>
                <c:pt idx="430">
                  <c:v>2057.4659999999999</c:v>
                </c:pt>
                <c:pt idx="431">
                  <c:v>2659.6397499999998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0000002</c:v>
                </c:pt>
                <c:pt idx="437">
                  <c:v>2471.3907916666599</c:v>
                </c:pt>
                <c:pt idx="438">
                  <c:v>1920.2779583333299</c:v>
                </c:pt>
                <c:pt idx="439">
                  <c:v>2274.8648333333299</c:v>
                </c:pt>
                <c:pt idx="440">
                  <c:v>1595.4885833333301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499999999</c:v>
                </c:pt>
                <c:pt idx="447">
                  <c:v>1969.1160833333299</c:v>
                </c:pt>
                <c:pt idx="448">
                  <c:v>1981.62925</c:v>
                </c:pt>
                <c:pt idx="449">
                  <c:v>2265.6325000000002</c:v>
                </c:pt>
                <c:pt idx="450">
                  <c:v>2017.8668333333301</c:v>
                </c:pt>
                <c:pt idx="451">
                  <c:v>2272.4112083333298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899</c:v>
                </c:pt>
                <c:pt idx="455">
                  <c:v>2334.3259166666599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49999999</c:v>
                </c:pt>
                <c:pt idx="459">
                  <c:v>2079.96133333333</c:v>
                </c:pt>
                <c:pt idx="460">
                  <c:v>1869.9213749999999</c:v>
                </c:pt>
                <c:pt idx="461">
                  <c:v>2151.5065416666598</c:v>
                </c:pt>
                <c:pt idx="462">
                  <c:v>2009.3411249999999</c:v>
                </c:pt>
                <c:pt idx="463">
                  <c:v>2258.4755416666599</c:v>
                </c:pt>
                <c:pt idx="464">
                  <c:v>1953.2787083333301</c:v>
                </c:pt>
                <c:pt idx="465">
                  <c:v>2179.1737083333301</c:v>
                </c:pt>
                <c:pt idx="466">
                  <c:v>2002.07149999999</c:v>
                </c:pt>
                <c:pt idx="467">
                  <c:v>2190.5812083333299</c:v>
                </c:pt>
                <c:pt idx="468">
                  <c:v>2238.6494166666598</c:v>
                </c:pt>
                <c:pt idx="469">
                  <c:v>2101.758875</c:v>
                </c:pt>
                <c:pt idx="470">
                  <c:v>1744.8411249999899</c:v>
                </c:pt>
                <c:pt idx="471">
                  <c:v>1955.6636249999999</c:v>
                </c:pt>
                <c:pt idx="472">
                  <c:v>1709.34116666666</c:v>
                </c:pt>
                <c:pt idx="473">
                  <c:v>2090.6051666666599</c:v>
                </c:pt>
                <c:pt idx="474">
                  <c:v>1930.23291666666</c:v>
                </c:pt>
                <c:pt idx="475">
                  <c:v>2252.1495416666598</c:v>
                </c:pt>
                <c:pt idx="476">
                  <c:v>2025.5564999999999</c:v>
                </c:pt>
                <c:pt idx="477">
                  <c:v>2431.169875</c:v>
                </c:pt>
                <c:pt idx="478">
                  <c:v>1985.1439583333299</c:v>
                </c:pt>
                <c:pt idx="479">
                  <c:v>2232.0480416666601</c:v>
                </c:pt>
                <c:pt idx="480">
                  <c:v>2000.4889166666601</c:v>
                </c:pt>
                <c:pt idx="481">
                  <c:v>2244.6094583333302</c:v>
                </c:pt>
                <c:pt idx="482">
                  <c:v>1956.4982499999901</c:v>
                </c:pt>
                <c:pt idx="483">
                  <c:v>2234.6941666666598</c:v>
                </c:pt>
                <c:pt idx="484">
                  <c:v>1764.0211666666601</c:v>
                </c:pt>
                <c:pt idx="485">
                  <c:v>1984.9037083333301</c:v>
                </c:pt>
                <c:pt idx="486">
                  <c:v>2259.3434166666598</c:v>
                </c:pt>
                <c:pt idx="487">
                  <c:v>2360.6292916666598</c:v>
                </c:pt>
                <c:pt idx="488">
                  <c:v>1846.40777272727</c:v>
                </c:pt>
                <c:pt idx="489">
                  <c:v>2621.3647499999902</c:v>
                </c:pt>
                <c:pt idx="490">
                  <c:v>1922.99563636363</c:v>
                </c:pt>
                <c:pt idx="491">
                  <c:v>2474.1590833333298</c:v>
                </c:pt>
                <c:pt idx="492">
                  <c:v>2056.328</c:v>
                </c:pt>
                <c:pt idx="493">
                  <c:v>2567.8376250000001</c:v>
                </c:pt>
                <c:pt idx="494">
                  <c:v>2030.3805833333299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01</c:v>
                </c:pt>
                <c:pt idx="500">
                  <c:v>1934.8973333333299</c:v>
                </c:pt>
                <c:pt idx="501">
                  <c:v>2169.9367916666602</c:v>
                </c:pt>
                <c:pt idx="502">
                  <c:v>1909.34512499999</c:v>
                </c:pt>
                <c:pt idx="503">
                  <c:v>2149.7494166666602</c:v>
                </c:pt>
                <c:pt idx="504">
                  <c:v>1873.6608333333299</c:v>
                </c:pt>
                <c:pt idx="505">
                  <c:v>2116.88016666666</c:v>
                </c:pt>
                <c:pt idx="506">
                  <c:v>1699.7154166666601</c:v>
                </c:pt>
                <c:pt idx="507">
                  <c:v>2109.2648749999998</c:v>
                </c:pt>
                <c:pt idx="508">
                  <c:v>1848.3395416666599</c:v>
                </c:pt>
                <c:pt idx="509">
                  <c:v>2107.09733333333</c:v>
                </c:pt>
                <c:pt idx="510">
                  <c:v>2006.9661249999999</c:v>
                </c:pt>
                <c:pt idx="511">
                  <c:v>2248.7629999999999</c:v>
                </c:pt>
                <c:pt idx="512">
                  <c:v>1784.0219999999999</c:v>
                </c:pt>
                <c:pt idx="513">
                  <c:v>2240.7224999999999</c:v>
                </c:pt>
                <c:pt idx="514">
                  <c:v>1836.4853333333299</c:v>
                </c:pt>
                <c:pt idx="515">
                  <c:v>2042.4563333333299</c:v>
                </c:pt>
                <c:pt idx="516">
                  <c:v>2023.1317916666601</c:v>
                </c:pt>
                <c:pt idx="517">
                  <c:v>2365.6989999999901</c:v>
                </c:pt>
                <c:pt idx="518">
                  <c:v>2014.6587499999901</c:v>
                </c:pt>
                <c:pt idx="519">
                  <c:v>2307.1498749999901</c:v>
                </c:pt>
                <c:pt idx="520">
                  <c:v>2004.1671249999999</c:v>
                </c:pt>
                <c:pt idx="521">
                  <c:v>2271.43324999999</c:v>
                </c:pt>
                <c:pt idx="522">
                  <c:v>1920.9021250000001</c:v>
                </c:pt>
                <c:pt idx="523">
                  <c:v>2218.1039999999998</c:v>
                </c:pt>
                <c:pt idx="524">
                  <c:v>1970.1035833333301</c:v>
                </c:pt>
                <c:pt idx="525">
                  <c:v>2213.6470416666598</c:v>
                </c:pt>
                <c:pt idx="526">
                  <c:v>1732.7019583333299</c:v>
                </c:pt>
                <c:pt idx="527">
                  <c:v>1933.2025000000001</c:v>
                </c:pt>
                <c:pt idx="528">
                  <c:v>1784.0386999999901</c:v>
                </c:pt>
                <c:pt idx="529">
                  <c:v>2104.9902499999998</c:v>
                </c:pt>
                <c:pt idx="530">
                  <c:v>1969.7938125000001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49999999</c:v>
                </c:pt>
                <c:pt idx="534">
                  <c:v>1935.0042083333301</c:v>
                </c:pt>
                <c:pt idx="535">
                  <c:v>2156.9343749999998</c:v>
                </c:pt>
                <c:pt idx="536">
                  <c:v>1926.1875</c:v>
                </c:pt>
                <c:pt idx="537">
                  <c:v>2214.9516250000001</c:v>
                </c:pt>
                <c:pt idx="538">
                  <c:v>1951.0851250000001</c:v>
                </c:pt>
                <c:pt idx="539">
                  <c:v>2127.3627916666601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599</c:v>
                </c:pt>
                <c:pt idx="543">
                  <c:v>1989.90491666666</c:v>
                </c:pt>
                <c:pt idx="544">
                  <c:v>1684.1917083333301</c:v>
                </c:pt>
                <c:pt idx="545">
                  <c:v>1953.3324583333299</c:v>
                </c:pt>
                <c:pt idx="546">
                  <c:v>2007.6444999999901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01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599</c:v>
                </c:pt>
                <c:pt idx="554">
                  <c:v>2052.8806666666601</c:v>
                </c:pt>
                <c:pt idx="555">
                  <c:v>1989.07779166666</c:v>
                </c:pt>
                <c:pt idx="556">
                  <c:v>1942.3025416666601</c:v>
                </c:pt>
                <c:pt idx="557">
                  <c:v>2247.8567916666598</c:v>
                </c:pt>
                <c:pt idx="558">
                  <c:v>2029.9478749999901</c:v>
                </c:pt>
                <c:pt idx="559">
                  <c:v>2304.0392916666601</c:v>
                </c:pt>
                <c:pt idx="560">
                  <c:v>1755.5350416666599</c:v>
                </c:pt>
                <c:pt idx="561">
                  <c:v>2048.3871666666601</c:v>
                </c:pt>
                <c:pt idx="562">
                  <c:v>1943.12725</c:v>
                </c:pt>
                <c:pt idx="563">
                  <c:v>2243.9492500000001</c:v>
                </c:pt>
                <c:pt idx="564">
                  <c:v>1881.1257083333301</c:v>
                </c:pt>
                <c:pt idx="565">
                  <c:v>2096.1401249999999</c:v>
                </c:pt>
                <c:pt idx="566">
                  <c:v>1722.9338333333301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02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02</c:v>
                </c:pt>
                <c:pt idx="574">
                  <c:v>1832.39116666666</c:v>
                </c:pt>
                <c:pt idx="575">
                  <c:v>2099.4979583333302</c:v>
                </c:pt>
                <c:pt idx="576">
                  <c:v>1845.81924999999</c:v>
                </c:pt>
                <c:pt idx="577">
                  <c:v>2042.6991666666599</c:v>
                </c:pt>
                <c:pt idx="578">
                  <c:v>1838.79779166666</c:v>
                </c:pt>
                <c:pt idx="579">
                  <c:v>2088.8355833333299</c:v>
                </c:pt>
                <c:pt idx="580">
                  <c:v>1883.367125</c:v>
                </c:pt>
                <c:pt idx="581">
                  <c:v>2092.3713333333299</c:v>
                </c:pt>
                <c:pt idx="582">
                  <c:v>1741.1714999999999</c:v>
                </c:pt>
                <c:pt idx="583">
                  <c:v>2051.60645833333</c:v>
                </c:pt>
                <c:pt idx="584">
                  <c:v>1642.1816249999999</c:v>
                </c:pt>
                <c:pt idx="585">
                  <c:v>1924.9824166666599</c:v>
                </c:pt>
                <c:pt idx="586">
                  <c:v>1831.9275833333299</c:v>
                </c:pt>
                <c:pt idx="587">
                  <c:v>2062.1536249999999</c:v>
                </c:pt>
                <c:pt idx="588">
                  <c:v>1844.1833750000001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01</c:v>
                </c:pt>
                <c:pt idx="592">
                  <c:v>1819.0770833333299</c:v>
                </c:pt>
                <c:pt idx="593">
                  <c:v>2089.3340416666601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49999999</c:v>
                </c:pt>
                <c:pt idx="598">
                  <c:v>1591.99795833333</c:v>
                </c:pt>
                <c:pt idx="599">
                  <c:v>1926.1012499999999</c:v>
                </c:pt>
                <c:pt idx="600">
                  <c:v>1874.9264166666601</c:v>
                </c:pt>
                <c:pt idx="601">
                  <c:v>2207.3483333333302</c:v>
                </c:pt>
                <c:pt idx="602">
                  <c:v>1911.4361249999999</c:v>
                </c:pt>
                <c:pt idx="603">
                  <c:v>2309.9924166666601</c:v>
                </c:pt>
                <c:pt idx="604">
                  <c:v>1934.6754166666601</c:v>
                </c:pt>
                <c:pt idx="605">
                  <c:v>2446.9752916666598</c:v>
                </c:pt>
                <c:pt idx="606">
                  <c:v>1950.0437916666599</c:v>
                </c:pt>
                <c:pt idx="607">
                  <c:v>2245.5435833333299</c:v>
                </c:pt>
                <c:pt idx="608">
                  <c:v>2055.8892500000002</c:v>
                </c:pt>
                <c:pt idx="609">
                  <c:v>2244.6372500000002</c:v>
                </c:pt>
                <c:pt idx="610">
                  <c:v>2363.6295416666599</c:v>
                </c:pt>
                <c:pt idx="611">
                  <c:v>3211.5232499999902</c:v>
                </c:pt>
                <c:pt idx="612">
                  <c:v>2147.2688333333299</c:v>
                </c:pt>
                <c:pt idx="613">
                  <c:v>2340.14141666666</c:v>
                </c:pt>
                <c:pt idx="614">
                  <c:v>2180.6801249999999</c:v>
                </c:pt>
                <c:pt idx="615">
                  <c:v>2606.2606666666602</c:v>
                </c:pt>
                <c:pt idx="616">
                  <c:v>1593.28204166666</c:v>
                </c:pt>
                <c:pt idx="617">
                  <c:v>1816.4230833333299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298</c:v>
                </c:pt>
                <c:pt idx="622">
                  <c:v>1708.6217083333299</c:v>
                </c:pt>
                <c:pt idx="623">
                  <c:v>2016.7689583333299</c:v>
                </c:pt>
                <c:pt idx="624">
                  <c:v>1949.9066250000001</c:v>
                </c:pt>
                <c:pt idx="625">
                  <c:v>2290.6012500000002</c:v>
                </c:pt>
                <c:pt idx="626">
                  <c:v>1880.72729166666</c:v>
                </c:pt>
                <c:pt idx="627">
                  <c:v>2154.9060416666598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299</c:v>
                </c:pt>
                <c:pt idx="631">
                  <c:v>2574.9333750000001</c:v>
                </c:pt>
                <c:pt idx="632">
                  <c:v>1838.4179166666599</c:v>
                </c:pt>
                <c:pt idx="633">
                  <c:v>2156.3199583333299</c:v>
                </c:pt>
                <c:pt idx="634">
                  <c:v>1879.3218749999901</c:v>
                </c:pt>
                <c:pt idx="635">
                  <c:v>2407.2310416666601</c:v>
                </c:pt>
                <c:pt idx="636">
                  <c:v>1984.76958333333</c:v>
                </c:pt>
                <c:pt idx="637">
                  <c:v>2474.5342083333298</c:v>
                </c:pt>
                <c:pt idx="638">
                  <c:v>1896.93095833333</c:v>
                </c:pt>
                <c:pt idx="639">
                  <c:v>2473.4072916666601</c:v>
                </c:pt>
                <c:pt idx="640">
                  <c:v>1830.4516249999999</c:v>
                </c:pt>
                <c:pt idx="641">
                  <c:v>2146.0133333333301</c:v>
                </c:pt>
                <c:pt idx="642">
                  <c:v>1967.22974999999</c:v>
                </c:pt>
                <c:pt idx="643">
                  <c:v>2182.4940000000001</c:v>
                </c:pt>
                <c:pt idx="644">
                  <c:v>1929.8937777777701</c:v>
                </c:pt>
                <c:pt idx="645">
                  <c:v>2045.6363636363601</c:v>
                </c:pt>
                <c:pt idx="646">
                  <c:v>1880.0908571428499</c:v>
                </c:pt>
                <c:pt idx="647">
                  <c:v>2085.9897500000002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598</c:v>
                </c:pt>
                <c:pt idx="652">
                  <c:v>1722.6105</c:v>
                </c:pt>
                <c:pt idx="653">
                  <c:v>2026.1913750000001</c:v>
                </c:pt>
                <c:pt idx="654">
                  <c:v>1621.5212916666601</c:v>
                </c:pt>
                <c:pt idx="655">
                  <c:v>1833.5901249999999</c:v>
                </c:pt>
                <c:pt idx="656">
                  <c:v>1763.4928749999999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598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599</c:v>
                </c:pt>
                <c:pt idx="664">
                  <c:v>2020.8008749999999</c:v>
                </c:pt>
                <c:pt idx="665">
                  <c:v>2143.7741666666602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299</c:v>
                </c:pt>
                <c:pt idx="669">
                  <c:v>2407.5522083333299</c:v>
                </c:pt>
                <c:pt idx="670">
                  <c:v>2557.52991666666</c:v>
                </c:pt>
                <c:pt idx="671">
                  <c:v>3343.2067916666601</c:v>
                </c:pt>
                <c:pt idx="672">
                  <c:v>1855.5550416666599</c:v>
                </c:pt>
                <c:pt idx="673">
                  <c:v>2107.1355416666602</c:v>
                </c:pt>
                <c:pt idx="674">
                  <c:v>2148.7616249999901</c:v>
                </c:pt>
                <c:pt idx="675">
                  <c:v>2362.4044583333298</c:v>
                </c:pt>
                <c:pt idx="676">
                  <c:v>1645.9032999999999</c:v>
                </c:pt>
                <c:pt idx="677">
                  <c:v>1852.95022727272</c:v>
                </c:pt>
                <c:pt idx="678">
                  <c:v>2100.8144499999999</c:v>
                </c:pt>
                <c:pt idx="679">
                  <c:v>2257.8534999999902</c:v>
                </c:pt>
                <c:pt idx="680">
                  <c:v>2056.5866249999999</c:v>
                </c:pt>
                <c:pt idx="681">
                  <c:v>2275.6061666666601</c:v>
                </c:pt>
                <c:pt idx="682">
                  <c:v>1961.3328750000001</c:v>
                </c:pt>
                <c:pt idx="683">
                  <c:v>2277.7167083333302</c:v>
                </c:pt>
                <c:pt idx="684">
                  <c:v>1943.82499999999</c:v>
                </c:pt>
                <c:pt idx="685">
                  <c:v>2235.0515416666599</c:v>
                </c:pt>
                <c:pt idx="686">
                  <c:v>1723.949625</c:v>
                </c:pt>
                <c:pt idx="687">
                  <c:v>1901.2469166666599</c:v>
                </c:pt>
                <c:pt idx="688">
                  <c:v>1893.2130833333299</c:v>
                </c:pt>
                <c:pt idx="689">
                  <c:v>2235.2352083333299</c:v>
                </c:pt>
                <c:pt idx="690">
                  <c:v>2172.7842083333298</c:v>
                </c:pt>
                <c:pt idx="691">
                  <c:v>2876.3842499999901</c:v>
                </c:pt>
                <c:pt idx="692">
                  <c:v>2270.6802499999999</c:v>
                </c:pt>
                <c:pt idx="693">
                  <c:v>3024.1334583333301</c:v>
                </c:pt>
                <c:pt idx="694">
                  <c:v>2140.97379166666</c:v>
                </c:pt>
                <c:pt idx="695">
                  <c:v>2883.3863333333302</c:v>
                </c:pt>
                <c:pt idx="696">
                  <c:v>2117.8012916666598</c:v>
                </c:pt>
                <c:pt idx="697">
                  <c:v>2926.3967916666602</c:v>
                </c:pt>
                <c:pt idx="698">
                  <c:v>2367.2226249999999</c:v>
                </c:pt>
                <c:pt idx="699">
                  <c:v>3195.3001250000002</c:v>
                </c:pt>
                <c:pt idx="700">
                  <c:v>2338.9344166666601</c:v>
                </c:pt>
                <c:pt idx="701">
                  <c:v>2643.5017916666602</c:v>
                </c:pt>
                <c:pt idx="702">
                  <c:v>2096.2074166666598</c:v>
                </c:pt>
                <c:pt idx="703">
                  <c:v>2410.1449583333301</c:v>
                </c:pt>
                <c:pt idx="704">
                  <c:v>2059.38004166666</c:v>
                </c:pt>
                <c:pt idx="705">
                  <c:v>2394.1077500000001</c:v>
                </c:pt>
                <c:pt idx="706">
                  <c:v>1972.1649583333301</c:v>
                </c:pt>
                <c:pt idx="707">
                  <c:v>2230.0864999999999</c:v>
                </c:pt>
                <c:pt idx="708">
                  <c:v>1787.87870833333</c:v>
                </c:pt>
                <c:pt idx="709">
                  <c:v>1997.3041250000001</c:v>
                </c:pt>
                <c:pt idx="710">
                  <c:v>1729.9509166666601</c:v>
                </c:pt>
                <c:pt idx="711">
                  <c:v>2047.0395000000001</c:v>
                </c:pt>
                <c:pt idx="712">
                  <c:v>1953.6437083333301</c:v>
                </c:pt>
                <c:pt idx="713">
                  <c:v>2451.7428749999999</c:v>
                </c:pt>
                <c:pt idx="714">
                  <c:v>1992.5728749999901</c:v>
                </c:pt>
                <c:pt idx="715">
                  <c:v>2288.7292499999999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299</c:v>
                </c:pt>
                <c:pt idx="721">
                  <c:v>2160.0101249999998</c:v>
                </c:pt>
                <c:pt idx="722">
                  <c:v>1749.8718636363601</c:v>
                </c:pt>
                <c:pt idx="723">
                  <c:v>2125.4543749999998</c:v>
                </c:pt>
                <c:pt idx="724">
                  <c:v>1779.80779166666</c:v>
                </c:pt>
                <c:pt idx="725">
                  <c:v>2286.2164166666598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01</c:v>
                </c:pt>
                <c:pt idx="729">
                  <c:v>2134.081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4B-4587-A81A-2606F851F7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8258607"/>
        <c:axId val="538270671"/>
      </c:scatterChart>
      <c:valAx>
        <c:axId val="5382586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8270671"/>
        <c:crosses val="autoZero"/>
        <c:crossBetween val="midCat"/>
      </c:valAx>
      <c:valAx>
        <c:axId val="5382706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825860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b="1"/>
              <a:t>Which Quarter</a:t>
            </a:r>
            <a:r>
              <a:rPr lang="en-US" sz="1100" b="1" baseline="0"/>
              <a:t> has the least Revenue Reduction Opportunities?</a:t>
            </a:r>
            <a:endParaRPr lang="en-US" sz="11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01256288"/>
        <c:axId val="1401252128"/>
      </c:barChart>
      <c:catAx>
        <c:axId val="1401256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1252128"/>
        <c:crosses val="autoZero"/>
        <c:auto val="1"/>
        <c:lblAlgn val="ctr"/>
        <c:lblOffset val="100"/>
        <c:noMultiLvlLbl val="0"/>
      </c:catAx>
      <c:valAx>
        <c:axId val="1401252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1256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b="1"/>
              <a:t>Which Quarter</a:t>
            </a:r>
            <a:r>
              <a:rPr lang="en-US" sz="1100" b="1" baseline="0"/>
              <a:t> has the least Revenue Reduction Opportunities?</a:t>
            </a:r>
            <a:endParaRPr lang="en-US" sz="11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What-If Analysis'!$Q$6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What-If Analysis'!$D$63:$D$66</c:f>
              <c:strCache>
                <c:ptCount val="4"/>
                <c:pt idx="0">
                  <c:v>Q1 Outage</c:v>
                </c:pt>
                <c:pt idx="1">
                  <c:v>Q2 Outage</c:v>
                </c:pt>
                <c:pt idx="2">
                  <c:v>Q3 Outage</c:v>
                </c:pt>
                <c:pt idx="3">
                  <c:v>Q4 Outage</c:v>
                </c:pt>
              </c:strCache>
            </c:strRef>
          </c:cat>
          <c:val>
            <c:numRef>
              <c:f>'What-If Analysis'!$Q$63:$Q$66</c:f>
              <c:numCache>
                <c:formatCode>"$"#,##0.00;[Red]\-"$"#,##0.00</c:formatCode>
                <c:ptCount val="4"/>
                <c:pt idx="0">
                  <c:v>141675660.03799999</c:v>
                </c:pt>
                <c:pt idx="1">
                  <c:v>153195448.35699999</c:v>
                </c:pt>
                <c:pt idx="2">
                  <c:v>154187083.64099997</c:v>
                </c:pt>
                <c:pt idx="3">
                  <c:v>157707855.470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85-48E8-8BB8-E3B219CC16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01256288"/>
        <c:axId val="1401252128"/>
      </c:barChart>
      <c:catAx>
        <c:axId val="1401256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1252128"/>
        <c:crosses val="autoZero"/>
        <c:auto val="1"/>
        <c:lblAlgn val="ctr"/>
        <c:lblOffset val="100"/>
        <c:noMultiLvlLbl val="0"/>
      </c:catAx>
      <c:valAx>
        <c:axId val="1401252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1256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st to Proudce vs. WBMP Market price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conomic Cost Analysis'!$B$292</c:f>
              <c:strCache>
                <c:ptCount val="1"/>
                <c:pt idx="0">
                  <c:v>Overall Desalination Cost to Produce ($/ML)</c:v>
                </c:pt>
              </c:strCache>
            </c:strRef>
          </c:tx>
          <c:spPr>
            <a:solidFill>
              <a:srgbClr val="29447B"/>
            </a:solidFill>
            <a:ln w="28575">
              <a:noFill/>
            </a:ln>
            <a:effectLst/>
          </c:spPr>
          <c:invertIfNegative val="0"/>
          <c:dLbls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50800" dist="50800" dir="5400000" sx="4000" sy="4000" algn="ctr" rotWithShape="0">
                  <a:schemeClr val="tx2">
                    <a:alpha val="43000"/>
                  </a:schemeClr>
                </a:outerShdw>
              </a:effectLst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conomic Cost Analysis'!$A$293:$A$29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B$293:$B$295</c:f>
              <c:numCache>
                <c:formatCode>"$"#,##0.00;[Red]\-"$"#,##0.00</c:formatCode>
                <c:ptCount val="3"/>
                <c:pt idx="0">
                  <c:v>25.001374005209875</c:v>
                </c:pt>
                <c:pt idx="1">
                  <c:v>54.231506516209812</c:v>
                </c:pt>
                <c:pt idx="2">
                  <c:v>35.804189198254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8C-4E90-BD7C-C1FCFA9B6B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94779936"/>
        <c:axId val="1094785760"/>
      </c:barChart>
      <c:lineChart>
        <c:grouping val="standard"/>
        <c:varyColors val="0"/>
        <c:ser>
          <c:idx val="1"/>
          <c:order val="1"/>
          <c:tx>
            <c:strRef>
              <c:f>'Economic Cost Analysis'!$C$292</c:f>
              <c:strCache>
                <c:ptCount val="1"/>
                <c:pt idx="0">
                  <c:v>Overall Average WBMP Market Price</c:v>
                </c:pt>
              </c:strCache>
            </c:strRef>
          </c:tx>
          <c:spPr>
            <a:ln w="28575" cap="rnd">
              <a:solidFill>
                <a:schemeClr val="accent3">
                  <a:lumMod val="75000"/>
                </a:schemeClr>
              </a:solidFill>
              <a:prstDash val="dash"/>
              <a:bevel/>
            </a:ln>
            <a:effectLst/>
          </c:spPr>
          <c:marker>
            <c:symbol val="square"/>
            <c:size val="4"/>
            <c:spPr>
              <a:solidFill>
                <a:schemeClr val="accent2"/>
              </a:solidFill>
              <a:ln w="9525" cap="rnd">
                <a:solidFill>
                  <a:schemeClr val="accent2"/>
                </a:solidFill>
                <a:headEnd type="oval"/>
              </a:ln>
              <a:effectLst/>
            </c:spPr>
          </c:marker>
          <c:cat>
            <c:strRef>
              <c:f>'Economic Cost Analysis'!$A$293:$A$29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C$293:$C$295</c:f>
              <c:numCache>
                <c:formatCode>"$"#,##0.00;[Red]\-"$"#,##0.00</c:formatCode>
                <c:ptCount val="3"/>
                <c:pt idx="0">
                  <c:v>76.577683416577656</c:v>
                </c:pt>
                <c:pt idx="1">
                  <c:v>76.577683416577656</c:v>
                </c:pt>
                <c:pt idx="2">
                  <c:v>76.5776834165776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8C-4E90-BD7C-C1FCFA9B6B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4779936"/>
        <c:axId val="1094785760"/>
      </c:lineChart>
      <c:catAx>
        <c:axId val="1094779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4785760"/>
        <c:crosses val="autoZero"/>
        <c:auto val="0"/>
        <c:lblAlgn val="ctr"/>
        <c:lblOffset val="100"/>
        <c:noMultiLvlLbl val="0"/>
      </c:catAx>
      <c:valAx>
        <c:axId val="1094785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4779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agate</a:t>
            </a:r>
            <a:r>
              <a:rPr lang="en-US" baseline="0"/>
              <a:t> Cost to Produce vs Kootha, Surjek and Jutik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conomic Cost Analysis'!$D$22</c:f>
              <c:strCache>
                <c:ptCount val="1"/>
                <c:pt idx="0">
                  <c:v>Kootha CtP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Economic Cost Analysis'!$G$10:$R$10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G$22:$R$22</c:f>
              <c:numCache>
                <c:formatCode>"$"#,##0.00;[Red]\-"$"#,##0.00\ "$/ML"</c:formatCode>
                <c:ptCount val="12"/>
                <c:pt idx="0">
                  <c:v>19.008554460403097</c:v>
                </c:pt>
                <c:pt idx="1">
                  <c:v>25.492172623052561</c:v>
                </c:pt>
                <c:pt idx="2">
                  <c:v>20.246430814356369</c:v>
                </c:pt>
                <c:pt idx="3">
                  <c:v>18.538208897820557</c:v>
                </c:pt>
                <c:pt idx="4">
                  <c:v>37.173188734592117</c:v>
                </c:pt>
                <c:pt idx="5">
                  <c:v>18.926571259334377</c:v>
                </c:pt>
                <c:pt idx="6">
                  <c:v>28.088710165040506</c:v>
                </c:pt>
                <c:pt idx="7">
                  <c:v>27.869870996564565</c:v>
                </c:pt>
                <c:pt idx="8">
                  <c:v>23.038875551690033</c:v>
                </c:pt>
                <c:pt idx="9">
                  <c:v>25.83514265328515</c:v>
                </c:pt>
                <c:pt idx="10">
                  <c:v>27.720966236714666</c:v>
                </c:pt>
                <c:pt idx="11">
                  <c:v>37.5425260650458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A45-4464-B488-644A2E37C0D1}"/>
            </c:ext>
          </c:extLst>
        </c:ser>
        <c:ser>
          <c:idx val="1"/>
          <c:order val="1"/>
          <c:tx>
            <c:strRef>
              <c:f>'Economic Cost Analysis'!$D$33</c:f>
              <c:strCache>
                <c:ptCount val="1"/>
                <c:pt idx="0">
                  <c:v>Surjek CtP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75000"/>
                </a:schemeClr>
              </a:solidFill>
              <a:ln w="9525">
                <a:solidFill>
                  <a:schemeClr val="accent2">
                    <a:lumMod val="75000"/>
                  </a:schemeClr>
                </a:solidFill>
              </a:ln>
              <a:effectLst/>
            </c:spPr>
          </c:marker>
          <c:cat>
            <c:numRef>
              <c:f>'Economic Cost Analysis'!$G$10:$R$10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G$33:$R$33</c:f>
              <c:numCache>
                <c:formatCode>"$"#,##0.00;[Red]\-"$"#,##0.00\ "$/ML"</c:formatCode>
                <c:ptCount val="12"/>
                <c:pt idx="0">
                  <c:v>52.749704483604205</c:v>
                </c:pt>
                <c:pt idx="1">
                  <c:v>59.863878813385597</c:v>
                </c:pt>
                <c:pt idx="2">
                  <c:v>63.762690282929732</c:v>
                </c:pt>
                <c:pt idx="3">
                  <c:v>78.188472724753353</c:v>
                </c:pt>
                <c:pt idx="4">
                  <c:v>86.296565119062237</c:v>
                </c:pt>
                <c:pt idx="5">
                  <c:v>53.948353573134469</c:v>
                </c:pt>
                <c:pt idx="6">
                  <c:v>48.540531907011328</c:v>
                </c:pt>
                <c:pt idx="7">
                  <c:v>53.6634853464152</c:v>
                </c:pt>
                <c:pt idx="8">
                  <c:v>40.836500744441324</c:v>
                </c:pt>
                <c:pt idx="9">
                  <c:v>45.840777989347593</c:v>
                </c:pt>
                <c:pt idx="10">
                  <c:v>52.15056777763202</c:v>
                </c:pt>
                <c:pt idx="11">
                  <c:v>32.611103369040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A45-4464-B488-644A2E37C0D1}"/>
            </c:ext>
          </c:extLst>
        </c:ser>
        <c:ser>
          <c:idx val="2"/>
          <c:order val="2"/>
          <c:tx>
            <c:strRef>
              <c:f>'Economic Cost Analysis'!$D$44</c:f>
              <c:strCache>
                <c:ptCount val="1"/>
                <c:pt idx="0">
                  <c:v>Jutik CtP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Economic Cost Analysis'!$G$10:$R$10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G$44:$R$44</c:f>
              <c:numCache>
                <c:formatCode>"$"#,##0.00;[Red]\-"$"#,##0.00\ "$/ML"</c:formatCode>
                <c:ptCount val="12"/>
                <c:pt idx="0">
                  <c:v>32.644395721309699</c:v>
                </c:pt>
                <c:pt idx="1">
                  <c:v>31.479124229144556</c:v>
                </c:pt>
                <c:pt idx="2">
                  <c:v>43.716430376785929</c:v>
                </c:pt>
                <c:pt idx="3">
                  <c:v>42.437461047529588</c:v>
                </c:pt>
                <c:pt idx="4">
                  <c:v>30.832306822249631</c:v>
                </c:pt>
                <c:pt idx="5">
                  <c:v>40.056607121314855</c:v>
                </c:pt>
                <c:pt idx="6">
                  <c:v>35.252643432800426</c:v>
                </c:pt>
                <c:pt idx="7">
                  <c:v>34.40970474928254</c:v>
                </c:pt>
                <c:pt idx="8">
                  <c:v>37.625793747462467</c:v>
                </c:pt>
                <c:pt idx="9">
                  <c:v>28.473377116074253</c:v>
                </c:pt>
                <c:pt idx="10">
                  <c:v>33.597819136852863</c:v>
                </c:pt>
                <c:pt idx="11">
                  <c:v>43.0161489046863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A45-4464-B488-644A2E37C0D1}"/>
            </c:ext>
          </c:extLst>
        </c:ser>
        <c:ser>
          <c:idx val="3"/>
          <c:order val="3"/>
          <c:tx>
            <c:strRef>
              <c:f>'Economic Cost Analysis'!$D$75</c:f>
              <c:strCache>
                <c:ptCount val="1"/>
                <c:pt idx="0">
                  <c:v>Overall Ct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FF00"/>
              </a:solidFill>
              <a:ln w="9525">
                <a:solidFill>
                  <a:srgbClr val="FFFF00"/>
                </a:solidFill>
              </a:ln>
              <a:effectLst/>
            </c:spPr>
          </c:marker>
          <c:dLbls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Economic Cost Analysis'!$G$10:$R$10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G$75:$R$75</c:f>
              <c:numCache>
                <c:formatCode>"$"#,##0.00;[Red]\-"$"#,##0.00</c:formatCode>
                <c:ptCount val="12"/>
                <c:pt idx="0">
                  <c:v>35.4895180180268</c:v>
                </c:pt>
                <c:pt idx="1">
                  <c:v>40.083392414844859</c:v>
                </c:pt>
                <c:pt idx="2">
                  <c:v>43.723249193160832</c:v>
                </c:pt>
                <c:pt idx="3">
                  <c:v>48.886636356341931</c:v>
                </c:pt>
                <c:pt idx="4">
                  <c:v>56.088102230227392</c:v>
                </c:pt>
                <c:pt idx="5">
                  <c:v>39.044842053719009</c:v>
                </c:pt>
                <c:pt idx="6">
                  <c:v>38.918514174055332</c:v>
                </c:pt>
                <c:pt idx="7">
                  <c:v>41.543319627670584</c:v>
                </c:pt>
                <c:pt idx="8">
                  <c:v>35.585926820374354</c:v>
                </c:pt>
                <c:pt idx="9">
                  <c:v>35.928208360416363</c:v>
                </c:pt>
                <c:pt idx="10">
                  <c:v>41.013913758286819</c:v>
                </c:pt>
                <c:pt idx="11">
                  <c:v>37.4182786535872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A45-4464-B488-644A2E37C0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8352751"/>
        <c:axId val="1018352335"/>
      </c:lineChart>
      <c:dateAx>
        <c:axId val="1018352751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8352335"/>
        <c:crosses val="autoZero"/>
        <c:auto val="1"/>
        <c:lblOffset val="100"/>
        <c:baseTimeUnit val="months"/>
      </c:dateAx>
      <c:valAx>
        <c:axId val="10183523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83527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/>
              <a:t>Surjek</a:t>
            </a:r>
            <a:r>
              <a:rPr lang="en-US" sz="1200" b="1" baseline="0"/>
              <a:t> Scatter Plot (Cost to Produce vs. Volume of Water Produced)</a:t>
            </a:r>
            <a:endParaRPr lang="en-US" sz="12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3.3656232788844158E-2"/>
                  <c:y val="-0.15320489909954432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[1]Economic Cost Analysis'!$G$32:$R$32</c:f>
              <c:numCache>
                <c:formatCode>General</c:formatCode>
                <c:ptCount val="12"/>
                <c:pt idx="0">
                  <c:v>214968.99900000001</c:v>
                </c:pt>
                <c:pt idx="1">
                  <c:v>228199.05100000001</c:v>
                </c:pt>
                <c:pt idx="2">
                  <c:v>216536.467</c:v>
                </c:pt>
                <c:pt idx="3">
                  <c:v>236760.27600000001</c:v>
                </c:pt>
                <c:pt idx="4">
                  <c:v>232052.864</c:v>
                </c:pt>
                <c:pt idx="5">
                  <c:v>240210.16</c:v>
                </c:pt>
                <c:pt idx="6">
                  <c:v>288160.549</c:v>
                </c:pt>
                <c:pt idx="7">
                  <c:v>306884.52399999998</c:v>
                </c:pt>
                <c:pt idx="8">
                  <c:v>367651.00600000005</c:v>
                </c:pt>
                <c:pt idx="9">
                  <c:v>351990.16599999997</c:v>
                </c:pt>
                <c:pt idx="10">
                  <c:v>362822</c:v>
                </c:pt>
                <c:pt idx="11">
                  <c:v>260312.3</c:v>
                </c:pt>
              </c:numCache>
            </c:numRef>
          </c:xVal>
          <c:yVal>
            <c:numRef>
              <c:f>'[1]Economic Cost Analysis'!$G$33:$R$33</c:f>
              <c:numCache>
                <c:formatCode>General</c:formatCode>
                <c:ptCount val="12"/>
                <c:pt idx="0">
                  <c:v>52.749704483604205</c:v>
                </c:pt>
                <c:pt idx="1">
                  <c:v>59.863878813385597</c:v>
                </c:pt>
                <c:pt idx="2">
                  <c:v>63.762690282929732</c:v>
                </c:pt>
                <c:pt idx="3">
                  <c:v>78.188472724753353</c:v>
                </c:pt>
                <c:pt idx="4">
                  <c:v>86.296565119062237</c:v>
                </c:pt>
                <c:pt idx="5">
                  <c:v>53.948353573134469</c:v>
                </c:pt>
                <c:pt idx="6">
                  <c:v>48.540531907011328</c:v>
                </c:pt>
                <c:pt idx="7">
                  <c:v>53.6634853464152</c:v>
                </c:pt>
                <c:pt idx="8">
                  <c:v>40.836500744441324</c:v>
                </c:pt>
                <c:pt idx="9">
                  <c:v>45.840777989347593</c:v>
                </c:pt>
                <c:pt idx="10">
                  <c:v>52.15056777763202</c:v>
                </c:pt>
                <c:pt idx="11">
                  <c:v>32.6111033690409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D16-46AF-95A9-FC64D41439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89015776"/>
        <c:axId val="1689017440"/>
      </c:scatterChart>
      <c:valAx>
        <c:axId val="1689015776"/>
        <c:scaling>
          <c:orientation val="minMax"/>
          <c:min val="1500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9017440"/>
        <c:crosses val="autoZero"/>
        <c:crossBetween val="midCat"/>
      </c:valAx>
      <c:valAx>
        <c:axId val="1689017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901577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/>
              <a:t>Jutik</a:t>
            </a:r>
            <a:r>
              <a:rPr lang="en-US" sz="1200" b="1" baseline="0"/>
              <a:t> Scatter Plot (Cost to Produce vs. Volume of Water Produced)</a:t>
            </a:r>
            <a:endParaRPr lang="en-US" sz="12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3.8968070354987623E-2"/>
                  <c:y val="0.17076961801050144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[1]Economic Cost Analysis'!$G$43:$R$43</c:f>
              <c:numCache>
                <c:formatCode>General</c:formatCode>
                <c:ptCount val="12"/>
                <c:pt idx="0">
                  <c:v>250241.99099999998</c:v>
                </c:pt>
                <c:pt idx="1">
                  <c:v>206740.70300000001</c:v>
                </c:pt>
                <c:pt idx="2">
                  <c:v>201235.46099999995</c:v>
                </c:pt>
                <c:pt idx="3">
                  <c:v>174369.56599999999</c:v>
                </c:pt>
                <c:pt idx="4">
                  <c:v>204091.05</c:v>
                </c:pt>
                <c:pt idx="5">
                  <c:v>146356.666</c:v>
                </c:pt>
                <c:pt idx="6">
                  <c:v>204202.49700000003</c:v>
                </c:pt>
                <c:pt idx="7">
                  <c:v>217430.19900000002</c:v>
                </c:pt>
                <c:pt idx="8">
                  <c:v>230982.2</c:v>
                </c:pt>
                <c:pt idx="9">
                  <c:v>236441.136</c:v>
                </c:pt>
                <c:pt idx="10">
                  <c:v>241407.36899999998</c:v>
                </c:pt>
                <c:pt idx="11">
                  <c:v>220380.334</c:v>
                </c:pt>
              </c:numCache>
            </c:numRef>
          </c:xVal>
          <c:yVal>
            <c:numRef>
              <c:f>'[1]Economic Cost Analysis'!$G$44:$R$44</c:f>
              <c:numCache>
                <c:formatCode>General</c:formatCode>
                <c:ptCount val="12"/>
                <c:pt idx="0">
                  <c:v>32.644395721309699</c:v>
                </c:pt>
                <c:pt idx="1">
                  <c:v>31.479124229144556</c:v>
                </c:pt>
                <c:pt idx="2">
                  <c:v>43.716430376785929</c:v>
                </c:pt>
                <c:pt idx="3">
                  <c:v>42.437461047529588</c:v>
                </c:pt>
                <c:pt idx="4">
                  <c:v>30.832306822249631</c:v>
                </c:pt>
                <c:pt idx="5">
                  <c:v>40.056607121314855</c:v>
                </c:pt>
                <c:pt idx="6">
                  <c:v>35.252643432800426</c:v>
                </c:pt>
                <c:pt idx="7">
                  <c:v>34.40970474928254</c:v>
                </c:pt>
                <c:pt idx="8">
                  <c:v>37.625793747462467</c:v>
                </c:pt>
                <c:pt idx="9">
                  <c:v>28.473377116074253</c:v>
                </c:pt>
                <c:pt idx="10">
                  <c:v>33.597819136852863</c:v>
                </c:pt>
                <c:pt idx="11">
                  <c:v>43.0161489046863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1B0-4BB3-9969-FE241850C9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99023104"/>
        <c:axId val="1699017280"/>
      </c:scatterChart>
      <c:valAx>
        <c:axId val="16990231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9017280"/>
        <c:crosses val="autoZero"/>
        <c:crossBetween val="midCat"/>
      </c:valAx>
      <c:valAx>
        <c:axId val="16990172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90231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i="0" baseline="0">
                <a:effectLst/>
              </a:rPr>
              <a:t>Kootha Scatter Plot (Cost to Produce vs. Volume of Water Produced)</a:t>
            </a:r>
            <a:endParaRPr lang="en-US" sz="105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0.18756167319891895"/>
                  <c:y val="-0.20453466668239395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Economic Cost Analysis'!$G$21:$R$21</c:f>
              <c:numCache>
                <c:formatCode>#,##0.00</c:formatCode>
                <c:ptCount val="12"/>
                <c:pt idx="0">
                  <c:v>181933.291</c:v>
                </c:pt>
                <c:pt idx="1">
                  <c:v>187443.943</c:v>
                </c:pt>
                <c:pt idx="2">
                  <c:v>184773.65699999998</c:v>
                </c:pt>
                <c:pt idx="3">
                  <c:v>191541.09299999999</c:v>
                </c:pt>
                <c:pt idx="4">
                  <c:v>98096.062000000005</c:v>
                </c:pt>
                <c:pt idx="5">
                  <c:v>185306.853</c:v>
                </c:pt>
                <c:pt idx="6">
                  <c:v>186901.43900000001</c:v>
                </c:pt>
                <c:pt idx="7">
                  <c:v>158586.76500000001</c:v>
                </c:pt>
                <c:pt idx="8">
                  <c:v>191403.67599999998</c:v>
                </c:pt>
                <c:pt idx="9">
                  <c:v>171057.864</c:v>
                </c:pt>
                <c:pt idx="10">
                  <c:v>169286.99900000001</c:v>
                </c:pt>
                <c:pt idx="11">
                  <c:v>142508.717</c:v>
                </c:pt>
              </c:numCache>
            </c:numRef>
          </c:xVal>
          <c:yVal>
            <c:numRef>
              <c:f>'Economic Cost Analysis'!$G$22:$R$22</c:f>
              <c:numCache>
                <c:formatCode>"$"#,##0.00;[Red]\-"$"#,##0.00\ "$/ML"</c:formatCode>
                <c:ptCount val="12"/>
                <c:pt idx="0">
                  <c:v>19.008554460403097</c:v>
                </c:pt>
                <c:pt idx="1">
                  <c:v>25.492172623052561</c:v>
                </c:pt>
                <c:pt idx="2">
                  <c:v>20.246430814356369</c:v>
                </c:pt>
                <c:pt idx="3">
                  <c:v>18.538208897820557</c:v>
                </c:pt>
                <c:pt idx="4">
                  <c:v>37.173188734592117</c:v>
                </c:pt>
                <c:pt idx="5">
                  <c:v>18.926571259334377</c:v>
                </c:pt>
                <c:pt idx="6">
                  <c:v>28.088710165040506</c:v>
                </c:pt>
                <c:pt idx="7">
                  <c:v>27.869870996564565</c:v>
                </c:pt>
                <c:pt idx="8">
                  <c:v>23.038875551690033</c:v>
                </c:pt>
                <c:pt idx="9">
                  <c:v>25.83514265328515</c:v>
                </c:pt>
                <c:pt idx="10">
                  <c:v>27.720966236714666</c:v>
                </c:pt>
                <c:pt idx="11">
                  <c:v>37.5425260650458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EC3-4E73-A043-958AA1DE6D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35866415"/>
        <c:axId val="235865999"/>
      </c:scatterChart>
      <c:valAx>
        <c:axId val="2358664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5865999"/>
        <c:crosses val="autoZero"/>
        <c:crossBetween val="midCat"/>
      </c:valAx>
      <c:valAx>
        <c:axId val="2358659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;[Red]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586641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Economic Market Analysis'!$B$16</c:f>
              <c:strCache>
                <c:ptCount val="1"/>
                <c:pt idx="0">
                  <c:v>Avg. Quantity of Soft + Hard Water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1"/>
            <c:dispEq val="1"/>
            <c:trendlineLbl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Economic Market Analysis'!$C$15:$N$15</c:f>
              <c:numCache>
                <c:formatCode>"$"#,##0.00</c:formatCode>
                <c:ptCount val="12"/>
                <c:pt idx="0">
                  <c:v>86.391757235371969</c:v>
                </c:pt>
                <c:pt idx="1">
                  <c:v>86.829490475868141</c:v>
                </c:pt>
                <c:pt idx="2">
                  <c:v>81.49989122823844</c:v>
                </c:pt>
                <c:pt idx="3">
                  <c:v>72.569232168710826</c:v>
                </c:pt>
                <c:pt idx="4">
                  <c:v>71.259354341223244</c:v>
                </c:pt>
                <c:pt idx="5">
                  <c:v>72.156510799663252</c:v>
                </c:pt>
                <c:pt idx="6">
                  <c:v>76.602720430107496</c:v>
                </c:pt>
                <c:pt idx="7">
                  <c:v>74.932540098566292</c:v>
                </c:pt>
                <c:pt idx="8">
                  <c:v>74.066319823232305</c:v>
                </c:pt>
                <c:pt idx="9">
                  <c:v>75.093148943932377</c:v>
                </c:pt>
                <c:pt idx="10">
                  <c:v>73.700956254509322</c:v>
                </c:pt>
                <c:pt idx="11">
                  <c:v>74.376656830400748</c:v>
                </c:pt>
              </c:numCache>
            </c:numRef>
          </c:xVal>
          <c:yVal>
            <c:numRef>
              <c:f>'Economic Market Analysis'!$C$16:$N$16</c:f>
              <c:numCache>
                <c:formatCode>0.00</c:formatCode>
                <c:ptCount val="12"/>
                <c:pt idx="0">
                  <c:v>2298.1901589653967</c:v>
                </c:pt>
                <c:pt idx="1">
                  <c:v>2406.0918962111036</c:v>
                </c:pt>
                <c:pt idx="2">
                  <c:v>2127.8145432709766</c:v>
                </c:pt>
                <c:pt idx="3">
                  <c:v>2185.7997542263706</c:v>
                </c:pt>
                <c:pt idx="4">
                  <c:v>2145.7837188661065</c:v>
                </c:pt>
                <c:pt idx="5">
                  <c:v>2229.7496611442612</c:v>
                </c:pt>
                <c:pt idx="6">
                  <c:v>2283.0502472527673</c:v>
                </c:pt>
                <c:pt idx="7">
                  <c:v>2201.0592458815067</c:v>
                </c:pt>
                <c:pt idx="8">
                  <c:v>2153.3431850899528</c:v>
                </c:pt>
                <c:pt idx="9">
                  <c:v>2098.9913812617792</c:v>
                </c:pt>
                <c:pt idx="10">
                  <c:v>2200.9293289926659</c:v>
                </c:pt>
                <c:pt idx="11">
                  <c:v>2312.19953976114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764-4DA6-8269-D1EAB2FE9D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10801648"/>
        <c:axId val="1310802064"/>
      </c:scatterChart>
      <c:valAx>
        <c:axId val="13108016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0802064"/>
        <c:crosses val="autoZero"/>
        <c:crossBetween val="midCat"/>
      </c:valAx>
      <c:valAx>
        <c:axId val="13108020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080164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31/08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AU" sz="1200" b="1" dirty="0"/>
              <a:t>The first slide we want to show is our overall conclusion regarding which Quarter we should perform the Maintenance Outage in.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On this slide, we would like you to show the following:</a:t>
            </a:r>
            <a:br>
              <a:rPr lang="en-AU" sz="1200" b="1" dirty="0"/>
            </a:br>
            <a:r>
              <a:rPr lang="en-AU" sz="1200" b="1" dirty="0"/>
              <a:t>A) Using a column-chart, please show the quarterly revenue (Q1,Q2,Q3,Q4). 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B) Using a combo-chart, create a chart which shows the 12-Monthly Water Market Demand and Average Water Balancing Price(s) using the data from the Water Data Repository Table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Remember, your chart should clearly show-case which Quarter you are recommending for the maintenance outage. (Feel free to highlight the Column you want the reader to focus on) </a:t>
            </a:r>
          </a:p>
          <a:p>
            <a:endParaRPr lang="en-AU" sz="1200" b="1" dirty="0"/>
          </a:p>
          <a:p>
            <a:r>
              <a:rPr lang="en-AU" sz="1200" b="1" dirty="0"/>
              <a:t>Hint: The Charts you’ve created for the What-If Tab, Q9 and Q11 may be helpful. We’ve included an example on the right for the Combo-Chart and what it </a:t>
            </a:r>
            <a:r>
              <a:rPr lang="en-AU" sz="1200" b="1" i="1" dirty="0"/>
              <a:t>may</a:t>
            </a:r>
            <a:r>
              <a:rPr lang="en-AU" sz="1200" b="1" dirty="0"/>
              <a:t> look like.</a:t>
            </a:r>
          </a:p>
          <a:p>
            <a:endParaRPr lang="en-AU" sz="1200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023273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AU" sz="1200" b="1" dirty="0"/>
              <a:t>The second slide we want to show is our overall conclusion regarding how cost-effective the Desalination Units are (i.e. </a:t>
            </a:r>
            <a:r>
              <a:rPr lang="en-AU" sz="1200" b="1" dirty="0" err="1"/>
              <a:t>Kootha</a:t>
            </a:r>
            <a:r>
              <a:rPr lang="en-AU" sz="1200" b="1" dirty="0"/>
              <a:t>, </a:t>
            </a:r>
            <a:r>
              <a:rPr lang="en-AU" sz="1200" b="1" dirty="0" err="1"/>
              <a:t>Surjek</a:t>
            </a:r>
            <a:r>
              <a:rPr lang="en-AU" sz="1200" b="1" dirty="0"/>
              <a:t> and </a:t>
            </a:r>
            <a:r>
              <a:rPr lang="en-AU" sz="1200" b="1" dirty="0" err="1"/>
              <a:t>Jutik</a:t>
            </a:r>
            <a:r>
              <a:rPr lang="en-AU" sz="1200" b="1" dirty="0"/>
              <a:t>) when compared to the Overall Water Market Balancing Price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You may want to show a Macro View followed by a Micro View.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On this slide, we would like you to show the following:</a:t>
            </a:r>
            <a:br>
              <a:rPr lang="en-AU" sz="1200" b="1" dirty="0"/>
            </a:br>
            <a:r>
              <a:rPr lang="en-AU" sz="1200" b="1" dirty="0"/>
              <a:t>A) Using a column-chart, please show the Overall Cost to Produce for </a:t>
            </a:r>
            <a:r>
              <a:rPr lang="en-AU" sz="1200" b="1" dirty="0" err="1"/>
              <a:t>Kootha</a:t>
            </a:r>
            <a:r>
              <a:rPr lang="en-AU" sz="1200" b="1" dirty="0"/>
              <a:t>, </a:t>
            </a:r>
            <a:r>
              <a:rPr lang="en-AU" sz="1200" b="1" dirty="0" err="1"/>
              <a:t>Surjek</a:t>
            </a:r>
            <a:r>
              <a:rPr lang="en-AU" sz="1200" b="1" dirty="0"/>
              <a:t> and </a:t>
            </a:r>
            <a:r>
              <a:rPr lang="en-AU" sz="1200" b="1" dirty="0" err="1"/>
              <a:t>Jutik</a:t>
            </a:r>
            <a:r>
              <a:rPr lang="en-AU" sz="1200" b="1" dirty="0"/>
              <a:t> compared against the Overall Desalination Cost to Produce ($/ML). This is the macro view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B) Using a line-chart, trend the monthly Cost to Produce for:</a:t>
            </a:r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 err="1"/>
              <a:t>Kootha</a:t>
            </a:r>
            <a:endParaRPr lang="en-AU" sz="1200" b="1" dirty="0"/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 err="1"/>
              <a:t>Sujrek</a:t>
            </a:r>
            <a:endParaRPr lang="en-AU" sz="1200" b="1" dirty="0"/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 err="1"/>
              <a:t>Jutik</a:t>
            </a:r>
            <a:endParaRPr lang="en-AU" sz="1200" b="1" dirty="0"/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 err="1"/>
              <a:t>Kootha</a:t>
            </a:r>
            <a:r>
              <a:rPr lang="en-AU" sz="1200" b="1" dirty="0"/>
              <a:t> + </a:t>
            </a:r>
            <a:r>
              <a:rPr lang="en-AU" sz="1200" b="1" dirty="0" err="1"/>
              <a:t>Surjek</a:t>
            </a:r>
            <a:r>
              <a:rPr lang="en-AU" sz="1200" b="1" dirty="0"/>
              <a:t> + </a:t>
            </a:r>
            <a:r>
              <a:rPr lang="en-AU" sz="1200" b="1" dirty="0" err="1"/>
              <a:t>Jutik</a:t>
            </a: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s you’ve created for the Economic Cost Analysis Tab, Q5 and Q8 may be helpful. We’ve included an example on the right for the Column Chart and what it </a:t>
            </a:r>
            <a:r>
              <a:rPr lang="en-AU" sz="1200" b="1" i="1" dirty="0"/>
              <a:t>may</a:t>
            </a:r>
            <a:r>
              <a:rPr lang="en-AU" sz="1200" b="1" dirty="0"/>
              <a:t> look like.</a:t>
            </a:r>
          </a:p>
          <a:p>
            <a:endParaRPr lang="en-AU" sz="1200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177417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AU" sz="1200" b="1" dirty="0"/>
              <a:t>The third slide we want to show is our overall conclusion regarding the economic relationship between price and quantities for each of the three plants. 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  <a:br>
              <a:rPr lang="en-AU" sz="1200" b="1" dirty="0"/>
            </a:br>
            <a:r>
              <a:rPr lang="en-AU" sz="1200" b="1" dirty="0"/>
              <a:t>A) Create three chart(s), which show the Cost to Produce vs. the Quantity of Water Produced for each Desalination Plant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Remember, we are </a:t>
            </a:r>
            <a:r>
              <a:rPr lang="en-AU" sz="1200" b="1" i="1" dirty="0"/>
              <a:t>comparing </a:t>
            </a:r>
            <a:r>
              <a:rPr lang="en-AU" sz="1200" b="1" dirty="0"/>
              <a:t>each point using a scatter-plot graphic.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 you’ve created for the Economic Cost Analysis, Q6, may be helpful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488042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AU" sz="1200" b="1" dirty="0"/>
              <a:t>The fourth slide we want to show is our overall conclusion regarding the economic principles of elasticity for our individual water products at a macro-level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A) Create three chart(s), which show the Weighted Balancing Market Price  vs. the Volume of Water Demanded (I.e. Soft Water, Hard Water, Soft + Hard Water)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 you’ve created for the Economic Market Analysis, Q2, may be helpful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977078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AU" sz="1200" b="1" dirty="0"/>
              <a:t>The fifth and final slide we want to show is our overall conclusion regarding the economic principles of elasticity for our individual water products at a </a:t>
            </a:r>
            <a:r>
              <a:rPr lang="en-AU" sz="1200" b="1" u="sng" dirty="0"/>
              <a:t>micro level. 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A) Create three chart(s), which show the Weighted Balancing Market Price vs. the Volume of Water Demanded (I.e. Soft Water, Hard Water, Soft + Hard Water)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 you’ve created for the Economic Market Analysis, Q3, may be helpful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81372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With a estimated 22% reduction in Surjek’s Revenues ($16M) due to the Maintenance Outage, Quarter 4 presents the best balance of revenue-loss mitigation with respect to market pricing, as opposed to Quarter 1 which represents the highest demand (2273.07 GL) and Water Balancing Market Prices ($84.84).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209A1D8-73C1-4837-B60B-27AC65AEB83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0773761"/>
              </p:ext>
            </p:extLst>
          </p:nvPr>
        </p:nvGraphicFramePr>
        <p:xfrm>
          <a:off x="4268387" y="1148784"/>
          <a:ext cx="4469737" cy="4677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2E7618B-59B5-4D9A-94D9-E36AE6E7CD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7995490"/>
              </p:ext>
            </p:extLst>
          </p:nvPr>
        </p:nvGraphicFramePr>
        <p:xfrm>
          <a:off x="81833" y="1989137"/>
          <a:ext cx="410665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2E7618B-59B5-4D9A-94D9-E36AE6E7CD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8024533"/>
              </p:ext>
            </p:extLst>
          </p:nvPr>
        </p:nvGraphicFramePr>
        <p:xfrm>
          <a:off x="1" y="2243222"/>
          <a:ext cx="427810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r>
              <a:rPr lang="en-GB" sz="1200" b="1" dirty="0"/>
              <a:t>Of the three Desalination Plants, all three remain profitable at current market prices by a favourable margin; Clearly </a:t>
            </a:r>
            <a:r>
              <a:rPr lang="en-GB" sz="1200" b="1" dirty="0" err="1"/>
              <a:t>Kootha</a:t>
            </a:r>
            <a:r>
              <a:rPr lang="en-GB" sz="1200" b="1" dirty="0"/>
              <a:t> is the most cost-effective ($25 /ML) followed by </a:t>
            </a:r>
            <a:r>
              <a:rPr lang="en-GB" sz="1200" b="1" dirty="0" err="1"/>
              <a:t>Jutik</a:t>
            </a:r>
            <a:r>
              <a:rPr lang="en-GB" sz="1200" b="1" dirty="0"/>
              <a:t> ($35.80 /ML) and lastly </a:t>
            </a:r>
            <a:r>
              <a:rPr lang="en-GB" sz="1200" b="1" dirty="0" err="1"/>
              <a:t>Surjek</a:t>
            </a:r>
            <a:r>
              <a:rPr lang="en-GB" sz="1200" b="1" dirty="0"/>
              <a:t> ($ 54.23 /ML) which is consistent across the July-2013 to June-2014 period. </a:t>
            </a:r>
            <a:endParaRPr lang="en-AU" sz="1200" b="1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01DE78-159E-4563-BC40-E7848615A3AD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54AA5B1-ABF7-4129-900D-D12557B012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0684722"/>
              </p:ext>
            </p:extLst>
          </p:nvPr>
        </p:nvGraphicFramePr>
        <p:xfrm>
          <a:off x="437958" y="949179"/>
          <a:ext cx="3953067" cy="28163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47BE4F1A-9A66-47D6-9EA1-1CDD3F6421CE}"/>
              </a:ext>
            </a:extLst>
          </p:cNvPr>
          <p:cNvSpPr txBox="1"/>
          <p:nvPr/>
        </p:nvSpPr>
        <p:spPr>
          <a:xfrm>
            <a:off x="4654563" y="1618697"/>
            <a:ext cx="386891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sz="1400" dirty="0" err="1"/>
              <a:t>Kootha</a:t>
            </a:r>
            <a:r>
              <a:rPr lang="en-US" altLang="ko-KR" sz="1400" dirty="0"/>
              <a:t> showed the highest EBIT margin as well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sz="1400" dirty="0" err="1"/>
              <a:t>Surjek</a:t>
            </a:r>
            <a:r>
              <a:rPr lang="en-US" altLang="ko-KR" sz="1400" dirty="0"/>
              <a:t> cost to produce is consistently higher than the overall cost to produce.</a:t>
            </a:r>
            <a:endParaRPr lang="ko-KR" altLang="en-US" sz="140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69370DF-11D3-45FA-8C28-456B50A46F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818060"/>
              </p:ext>
            </p:extLst>
          </p:nvPr>
        </p:nvGraphicFramePr>
        <p:xfrm>
          <a:off x="343971" y="3934647"/>
          <a:ext cx="8143910" cy="2601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Contrasting the Cost to Produce against the Volume of Water Produced highlights clear </a:t>
            </a:r>
            <a:r>
              <a:rPr lang="en-GB" sz="1200" b="1" i="1" dirty="0"/>
              <a:t>&lt;economies of scale&gt;</a:t>
            </a:r>
            <a:r>
              <a:rPr lang="en-GB" sz="1200" b="1" dirty="0"/>
              <a:t> with costs rapidly dwindling across all plants as volume surges, with this being particularly noticeable across the Kootha and Surjek Plants with costs dropping as much as 50%.  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A3022A0-6435-4B84-A4BE-287729D91B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2016015"/>
              </p:ext>
            </p:extLst>
          </p:nvPr>
        </p:nvGraphicFramePr>
        <p:xfrm>
          <a:off x="4414558" y="1153060"/>
          <a:ext cx="4196042" cy="2448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299CA6E7-6272-4998-B780-3298861478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3032778"/>
              </p:ext>
            </p:extLst>
          </p:nvPr>
        </p:nvGraphicFramePr>
        <p:xfrm>
          <a:off x="379365" y="3803040"/>
          <a:ext cx="4035193" cy="25625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EDE35ACF-03CD-41C5-970A-96BA672DD5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1179424"/>
              </p:ext>
            </p:extLst>
          </p:nvPr>
        </p:nvGraphicFramePr>
        <p:xfrm>
          <a:off x="379365" y="1243581"/>
          <a:ext cx="4101354" cy="2458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Drilling down further from a product-perspective, reveals two different patterns of elasticity where</a:t>
            </a:r>
            <a:br>
              <a:rPr lang="en-GB" sz="1400" b="1" dirty="0"/>
            </a:br>
            <a:r>
              <a:rPr lang="en-GB" sz="1400" b="1" dirty="0"/>
              <a:t>Hard water tends to be relatively price &lt;inelastic&gt; regardless of quantity purchased, whilst Soft water and Soft + Hard water is more representative of an &lt;elastic&gt; price-to-volume relationship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DD1D6EE-22F8-4448-83A4-4DE3CA7E45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1321874"/>
              </p:ext>
            </p:extLst>
          </p:nvPr>
        </p:nvGraphicFramePr>
        <p:xfrm>
          <a:off x="348164" y="1181269"/>
          <a:ext cx="3726686" cy="26183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0BFAD73-9E40-42ED-AC76-0796C064CA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4085044"/>
              </p:ext>
            </p:extLst>
          </p:nvPr>
        </p:nvGraphicFramePr>
        <p:xfrm>
          <a:off x="4394447" y="1181269"/>
          <a:ext cx="3881475" cy="2618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B236DA6-8B00-48B3-A06D-11C457DA11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7745477"/>
              </p:ext>
            </p:extLst>
          </p:nvPr>
        </p:nvGraphicFramePr>
        <p:xfrm>
          <a:off x="348163" y="3897836"/>
          <a:ext cx="3815463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0C38546-35D8-4707-9BE7-B1CC76198CE0}"/>
              </a:ext>
            </a:extLst>
          </p:cNvPr>
          <p:cNvSpPr txBox="1"/>
          <p:nvPr/>
        </p:nvSpPr>
        <p:spPr>
          <a:xfrm>
            <a:off x="4391025" y="4513066"/>
            <a:ext cx="395946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sz="1400" dirty="0"/>
              <a:t>Price change on Hard water doesn’t affect the demand a lot, however, price change on Soft water and Soft +Hard water causes a big change on demand.  </a:t>
            </a:r>
            <a:endParaRPr lang="ko-KR" altLang="en-US" sz="1400" dirty="0"/>
          </a:p>
        </p:txBody>
      </p:sp>
    </p:spTree>
    <p:extLst>
      <p:ext uri="{BB962C8B-B14F-4D97-AF65-F5344CB8AC3E}">
        <p14:creationId xmlns:p14="http://schemas.microsoft.com/office/powerpoint/2010/main" val="534358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Lastly, when viewing the economic pricing data from an micro-perspective, it is indicative </a:t>
            </a:r>
            <a:r>
              <a:rPr lang="en-GB" sz="1400" b="1"/>
              <a:t>that &lt;Soft water</a:t>
            </a:r>
            <a:r>
              <a:rPr lang="en-GB" sz="1400" b="1" dirty="0"/>
              <a:t>&gt; is seen as more of a ‘less core’ product than that of &lt;Hard Water&gt; whose price remains largely &lt;inflexible&gt;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BC8D2AB-5FCF-47D4-9187-31E7E9B676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9918559"/>
              </p:ext>
            </p:extLst>
          </p:nvPr>
        </p:nvGraphicFramePr>
        <p:xfrm>
          <a:off x="463096" y="999798"/>
          <a:ext cx="3716699" cy="2874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E5B1CB9-5B79-4679-AEAD-CDEB650EAF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5361885"/>
              </p:ext>
            </p:extLst>
          </p:nvPr>
        </p:nvGraphicFramePr>
        <p:xfrm>
          <a:off x="4704063" y="991860"/>
          <a:ext cx="3430202" cy="2874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E3A0607-CAB2-47C9-A959-78EF8C1E27C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8248943"/>
              </p:ext>
            </p:extLst>
          </p:nvPr>
        </p:nvGraphicFramePr>
        <p:xfrm>
          <a:off x="463096" y="3933345"/>
          <a:ext cx="3876498" cy="2745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67718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488</TotalTime>
  <Words>1035</Words>
  <Application>Microsoft Office PowerPoint</Application>
  <PresentationFormat>Custom</PresentationFormat>
  <Paragraphs>66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Wingdings</vt:lpstr>
      <vt:lpstr>1_Synergy_CF_YNR013</vt:lpstr>
      <vt:lpstr>think-cell Slide</vt:lpstr>
      <vt:lpstr>With a estimated 22% reduction in Surjek’s Revenues ($16M) due to the Maintenance Outage, Quarter 4 presents the best balance of revenue-loss mitigation with respect to market pricing, as opposed to Quarter 1 which represents the highest demand (2273.07 GL) and Water Balancing Market Prices ($84.84).</vt:lpstr>
      <vt:lpstr>Of the three Desalination Plants, all three remain profitable at current market prices by a favourable margin; Clearly Kootha is the most cost-effective ($25 /ML) followed by Jutik ($35.80 /ML) and lastly Surjek ($ 54.23 /ML) which is consistent across the July-2013 to June-2014 period. </vt:lpstr>
      <vt:lpstr>Contrasting the Cost to Produce against the Volume of Water Produced highlights clear &lt;economies of scale&gt; with costs rapidly dwindling across all plants as volume surges, with this being particularly noticeable across the Kootha and Surjek Plants with costs dropping as much as 50%.  </vt:lpstr>
      <vt:lpstr>Drilling down further from a product-perspective, reveals two different patterns of elasticity where Hard water tends to be relatively price &lt;inelastic&gt; regardless of quantity purchased, whilst Soft water and Soft + Hard water is more representative of an &lt;elastic&gt; price-to-volume relationship.</vt:lpstr>
      <vt:lpstr>Lastly, when viewing the economic pricing data from an micro-perspective, it is indicative that &lt;Soft water&gt; is seen as more of a ‘less core’ product than that of &lt;Hard Water&gt; whose price remains largely &lt;inflexible&gt;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Alisha Lee</cp:lastModifiedBy>
  <cp:revision>92</cp:revision>
  <dcterms:created xsi:type="dcterms:W3CDTF">2020-04-12T13:23:13Z</dcterms:created>
  <dcterms:modified xsi:type="dcterms:W3CDTF">2021-08-31T22:53:33Z</dcterms:modified>
</cp:coreProperties>
</file>